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3" r:id="rId6"/>
  </p:sldMasterIdLst>
  <p:notesMasterIdLst>
    <p:notesMasterId r:id="rId74"/>
  </p:notesMasterIdLst>
  <p:handoutMasterIdLst>
    <p:handoutMasterId r:id="rId75"/>
  </p:handoutMasterIdLst>
  <p:sldIdLst>
    <p:sldId id="2147376972" r:id="rId7"/>
    <p:sldId id="2147376908" r:id="rId8"/>
    <p:sldId id="2147376982" r:id="rId9"/>
    <p:sldId id="2147377002" r:id="rId10"/>
    <p:sldId id="2147376983" r:id="rId11"/>
    <p:sldId id="2147376975" r:id="rId12"/>
    <p:sldId id="2147376958" r:id="rId13"/>
    <p:sldId id="2147376976" r:id="rId14"/>
    <p:sldId id="2147376977" r:id="rId15"/>
    <p:sldId id="2147376978" r:id="rId16"/>
    <p:sldId id="2147376979" r:id="rId17"/>
    <p:sldId id="2147376980" r:id="rId18"/>
    <p:sldId id="2147376981" r:id="rId19"/>
    <p:sldId id="2147376984" r:id="rId20"/>
    <p:sldId id="2147376985" r:id="rId21"/>
    <p:sldId id="2147376986" r:id="rId22"/>
    <p:sldId id="2147376987" r:id="rId23"/>
    <p:sldId id="2147376988" r:id="rId24"/>
    <p:sldId id="2147376989" r:id="rId25"/>
    <p:sldId id="2147376990" r:id="rId26"/>
    <p:sldId id="2147376991" r:id="rId27"/>
    <p:sldId id="2147376992" r:id="rId28"/>
    <p:sldId id="2147376993" r:id="rId29"/>
    <p:sldId id="2147376995" r:id="rId30"/>
    <p:sldId id="2147376994" r:id="rId31"/>
    <p:sldId id="2147376996" r:id="rId32"/>
    <p:sldId id="2147376997" r:id="rId33"/>
    <p:sldId id="2147377000" r:id="rId34"/>
    <p:sldId id="2147376999" r:id="rId35"/>
    <p:sldId id="2147376998" r:id="rId36"/>
    <p:sldId id="2147377001" r:id="rId37"/>
    <p:sldId id="2147377003" r:id="rId38"/>
    <p:sldId id="2147377010" r:id="rId39"/>
    <p:sldId id="2147377011" r:id="rId40"/>
    <p:sldId id="2147377012" r:id="rId41"/>
    <p:sldId id="2147377004" r:id="rId42"/>
    <p:sldId id="2147377005" r:id="rId43"/>
    <p:sldId id="2147377006" r:id="rId44"/>
    <p:sldId id="2147377007" r:id="rId45"/>
    <p:sldId id="2147377008" r:id="rId46"/>
    <p:sldId id="2147377013" r:id="rId47"/>
    <p:sldId id="2147377017" r:id="rId48"/>
    <p:sldId id="2147377014" r:id="rId49"/>
    <p:sldId id="2147377016" r:id="rId50"/>
    <p:sldId id="2147377015" r:id="rId51"/>
    <p:sldId id="2147377018" r:id="rId52"/>
    <p:sldId id="2147377019" r:id="rId53"/>
    <p:sldId id="2147377020" r:id="rId54"/>
    <p:sldId id="2147377023" r:id="rId55"/>
    <p:sldId id="2147377024" r:id="rId56"/>
    <p:sldId id="2147377025" r:id="rId57"/>
    <p:sldId id="2147377021" r:id="rId58"/>
    <p:sldId id="2147377026" r:id="rId59"/>
    <p:sldId id="2147377028" r:id="rId60"/>
    <p:sldId id="2147377027" r:id="rId61"/>
    <p:sldId id="2147377029" r:id="rId62"/>
    <p:sldId id="2147377030" r:id="rId63"/>
    <p:sldId id="2147377031" r:id="rId64"/>
    <p:sldId id="2147377032" r:id="rId65"/>
    <p:sldId id="2147377033" r:id="rId66"/>
    <p:sldId id="2147377034" r:id="rId67"/>
    <p:sldId id="2147377035" r:id="rId68"/>
    <p:sldId id="2147377037" r:id="rId69"/>
    <p:sldId id="2147377038" r:id="rId70"/>
    <p:sldId id="2147377039" r:id="rId71"/>
    <p:sldId id="2147377036" r:id="rId72"/>
    <p:sldId id="277" r:id="rId73"/>
  </p:sldIdLst>
  <p:sldSz cx="9144000" cy="5143500" type="screen16x9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5ECCC95-D0E4-47A1-AA18-992FB8CF6C56}">
          <p14:sldIdLst>
            <p14:sldId id="2147376972"/>
            <p14:sldId id="2147376908"/>
          </p14:sldIdLst>
        </p14:section>
        <p14:section name="Interior" id="{BEFF0234-22C5-4573-BC80-25E6ACBF9A29}">
          <p14:sldIdLst>
            <p14:sldId id="2147376982"/>
            <p14:sldId id="2147377002"/>
            <p14:sldId id="2147376983"/>
            <p14:sldId id="2147376975"/>
            <p14:sldId id="2147376958"/>
            <p14:sldId id="2147376976"/>
            <p14:sldId id="2147376977"/>
            <p14:sldId id="2147376978"/>
            <p14:sldId id="2147376979"/>
            <p14:sldId id="2147376980"/>
            <p14:sldId id="2147376981"/>
            <p14:sldId id="2147376984"/>
            <p14:sldId id="2147376985"/>
            <p14:sldId id="2147376986"/>
            <p14:sldId id="2147376987"/>
            <p14:sldId id="2147376988"/>
            <p14:sldId id="2147376989"/>
            <p14:sldId id="2147376990"/>
            <p14:sldId id="2147376991"/>
            <p14:sldId id="2147376992"/>
            <p14:sldId id="2147376993"/>
            <p14:sldId id="2147376995"/>
            <p14:sldId id="2147376994"/>
            <p14:sldId id="2147376996"/>
            <p14:sldId id="2147376997"/>
            <p14:sldId id="2147377000"/>
            <p14:sldId id="2147376999"/>
            <p14:sldId id="2147376998"/>
            <p14:sldId id="2147377001"/>
            <p14:sldId id="2147377003"/>
            <p14:sldId id="2147377010"/>
            <p14:sldId id="2147377011"/>
            <p14:sldId id="2147377012"/>
            <p14:sldId id="2147377004"/>
            <p14:sldId id="2147377005"/>
            <p14:sldId id="2147377006"/>
            <p14:sldId id="2147377007"/>
            <p14:sldId id="2147377008"/>
            <p14:sldId id="2147377013"/>
            <p14:sldId id="2147377017"/>
            <p14:sldId id="2147377014"/>
            <p14:sldId id="2147377016"/>
            <p14:sldId id="2147377015"/>
            <p14:sldId id="2147377018"/>
            <p14:sldId id="2147377019"/>
            <p14:sldId id="2147377020"/>
            <p14:sldId id="2147377023"/>
            <p14:sldId id="2147377024"/>
            <p14:sldId id="2147377025"/>
            <p14:sldId id="2147377021"/>
            <p14:sldId id="2147377026"/>
            <p14:sldId id="2147377028"/>
            <p14:sldId id="2147377027"/>
            <p14:sldId id="2147377029"/>
            <p14:sldId id="2147377030"/>
            <p14:sldId id="2147377031"/>
            <p14:sldId id="2147377032"/>
            <p14:sldId id="2147377033"/>
            <p14:sldId id="2147377034"/>
            <p14:sldId id="2147377035"/>
            <p14:sldId id="2147377037"/>
            <p14:sldId id="2147377038"/>
            <p14:sldId id="2147377039"/>
            <p14:sldId id="2147377036"/>
          </p14:sldIdLst>
        </p14:section>
        <p14:section name="Exterior Wall Paints" id="{6838B4B1-D502-441E-829B-F7881DDE0620}">
          <p14:sldIdLst/>
        </p14:section>
        <p14:section name="Waterproofing" id="{C2F71C7F-E5AB-44FD-8228-C9769D396B00}">
          <p14:sldIdLst>
            <p14:sldId id="277"/>
          </p14:sldIdLst>
        </p14:section>
      </p14:sectionLst>
    </p:ext>
    <p:ext uri="{EFAFB233-063F-42B5-8137-9DF3F51BA10A}">
      <p15:sldGuideLst xmlns:p15="http://schemas.microsoft.com/office/powerpoint/2012/main">
        <p15:guide id="1" pos="2880" userDrawn="1">
          <p15:clr>
            <a:srgbClr val="A4A3A4"/>
          </p15:clr>
        </p15:guide>
        <p15:guide id="2" orient="horz" pos="15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104741A-A11E-ABA7-6C82-310F251288BF}" name="Guest User" initials="GU" userId="S::urn:spo:anon#4733a8e44242740f0c656e93f02a5e18e9ffddf24a597737c6c8c37bf0d39ea6::" providerId="AD"/>
  <p188:author id="{0EC3F539-8E20-626C-759C-FEE10870B09F}" name="Sounak Bhattacharya" initials="SB" userId="S::sounak@techsurgelearning.com::05731ce5-d0a3-40f0-a421-a429b4d978e5" providerId="AD"/>
  <p188:author id="{C4BA7C48-1BFD-054B-C43D-520E70EC075B}" name="sounak bhattacharya" initials="sb" userId="24a9b3bdb2d123f7" providerId="Windows Live"/>
  <p188:author id="{0D6F5D5C-6871-4982-CFEE-08B3F40ECCB8}" name="Guest User" initials="GU" userId="S::urn:spo:anon#79437c310d2117c5b248132deb5a46ba2cd3f4aa8a073fa4cb17aac2f60a0090::" providerId="AD"/>
  <p188:author id="{BCFC3BCF-C964-70ED-B0DD-FDB6140A8A4C}" name="Lina Handyna" initials="LH" userId="S::lina.handyna@akzonobel.com::c3c2cf5f-afea-4452-8198-6721732ffb0e" providerId="AD"/>
  <p188:author id="{CBE279F0-3709-CFA7-3E49-14D3B3D8E20F}" name="Guest User" initials="GU" userId="S::urn:spo:anon#5bf020f014c65cfa7ea720685f3e8aea2e7ce1a31f7e77c243f85f507f4c315f::" providerId="AD"/>
  <p188:author id="{DA6ECDF5-72C8-B850-5286-925A6A06427C}" name="Tavishi Jain" initials="TJ" userId="S::tavishi@techsurgelearning.com::82126a74-da4d-43f0-9c0c-608c79f9c6a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C4B0"/>
    <a:srgbClr val="C0C3B0"/>
    <a:srgbClr val="BF9319"/>
    <a:srgbClr val="B1C4A9"/>
    <a:srgbClr val="8FA3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0BCD29-CA7F-DFBE-D4BE-C11B3571E914}" v="212" dt="2023-12-26T04:42:12.327"/>
    <p1510:client id="{14791F52-1B67-FDB2-7BE3-1D59717C1881}" v="3" dt="2023-10-20T07:05:02.399"/>
    <p1510:client id="{169B6405-45D3-57DF-B003-B2EAA43BEA5F}" v="1" dt="2023-10-06T06:52:27.188"/>
    <p1510:client id="{25CB00D0-87E8-1E99-D350-FA8F59F1F7AC}" v="1" dt="2023-10-19T12:19:02.912"/>
    <p1510:client id="{2B24CA93-9A44-98E2-C343-1F7E94585F4E}" v="14" dt="2023-12-23T05:20:59.435"/>
    <p1510:client id="{2D5B5ADC-2F14-215F-3C1D-ABD9DB777500}" v="2" dt="2023-10-19T09:49:33.433"/>
    <p1510:client id="{2E2FCCF3-159D-EB81-BDF1-CB96C429BBFC}" v="8" dt="2023-10-19T08:46:41.760"/>
    <p1510:client id="{33ACA099-67F5-F669-4A38-00A369D8507D}" v="288" dt="2023-10-19T10:52:22.810"/>
    <p1510:client id="{3A01289D-EA42-D045-FE9D-679F1A5674DE}" v="160" dt="2023-10-19T11:09:34.776"/>
    <p1510:client id="{3AB0D558-47C8-5CAC-32D1-69E02F34114B}" v="96" dt="2023-10-05T17:25:53.754"/>
    <p1510:client id="{41A065AC-91BE-6939-0DAB-EC2A248D725D}" v="7" dt="2023-10-20T05:37:34.636"/>
    <p1510:client id="{435AFDDD-08EA-41F5-8EAB-19DF2C1D23B2}" v="24" dt="2023-10-26T03:46:06.635"/>
    <p1510:client id="{44F8E2B9-0677-04C3-2185-012955D6D7BD}" v="3" dt="2023-10-19T12:15:19.214"/>
    <p1510:client id="{4E6C76F0-19C1-442A-87D1-7F183AC404FD}" v="8" dt="2023-10-05T14:08:57.788"/>
    <p1510:client id="{53BDFCFB-5E76-8C1E-75D2-C0EEE279FB00}" v="32" dt="2023-10-17T05:45:10.899"/>
    <p1510:client id="{5E12E381-2B7F-D542-A869-710DFE4C0671}" v="85" dt="2023-10-25T10:45:56.218"/>
    <p1510:client id="{5E6B2E23-ED1C-F95E-42EF-B67DB1620F77}" v="1584" dt="2023-10-20T08:27:15.974"/>
    <p1510:client id="{5EC9985B-2E4E-458D-AB57-A506675B091C}" v="2" dt="2023-10-25T13:36:16.028"/>
    <p1510:client id="{652C80F2-5583-44F6-9F9A-5146F2765034}" v="9" dt="2023-10-20T06:01:45.200"/>
    <p1510:client id="{759AA314-C52D-D8DD-BB99-FE50483D69D4}" v="745" dt="2023-10-05T12:32:41.249"/>
    <p1510:client id="{8BAD91DA-1A79-4115-8BC1-B8AE218D72B7}" v="2" dt="2023-10-06T07:11:41.136"/>
    <p1510:client id="{8DCCACE6-9C6F-66A4-93DF-7B9F082B0FC3}" v="30" dt="2023-10-05T17:32:35.452"/>
    <p1510:client id="{A2C8845F-0DB1-FEFB-4C1B-6BCDDB4E88B0}" v="15" dt="2023-12-23T05:22:52.907"/>
    <p1510:client id="{A678ECC9-309C-3B43-CF97-DF9B02867FE1}" v="104" dt="2023-10-25T04:30:34.602"/>
    <p1510:client id="{B5A52C68-27A1-0CA1-1F21-D1E7C7A76F1E}" v="156" dt="2023-10-19T10:40:24.610"/>
    <p1510:client id="{C5A823E5-C774-B810-FB3A-37E5B4C43715}" v="6" dt="2023-10-19T11:22:46.302"/>
    <p1510:client id="{C8D15ECA-9729-884D-DBD4-790C74381B8D}" v="349" dt="2023-12-23T06:51:50.929"/>
    <p1510:client id="{D2CC1153-EABC-37D7-33EF-DEDECE5B4359}" v="39" dt="2023-10-06T10:42:46.453"/>
    <p1510:client id="{DA295B1A-BBCB-F674-01D4-971D25334B8A}" v="9" dt="2023-10-20T12:51:50.654"/>
    <p1510:client id="{DD2EA055-8904-BD28-B042-FC8D03535E19}" v="212" dt="2023-10-24T09:35:23.256"/>
    <p1510:client id="{E5EE645D-9553-F770-8028-CA1CC33FE382}" v="5" dt="2023-10-25T09:38:38.113"/>
    <p1510:client id="{F855A5D0-2C59-DA8C-2E6D-A9E92524C75D}" v="2" dt="2023-10-25T04:45:34.373"/>
    <p1510:client id="{FC25F3D3-0A4C-6D4C-6D7E-C517654DCE75}" v="144" dt="2023-12-23T10:44:19.924"/>
  </p1510:revLst>
</p1510:revInfo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662" autoAdjust="0"/>
    <p:restoredTop sz="63822" autoAdjust="0"/>
  </p:normalViewPr>
  <p:slideViewPr>
    <p:cSldViewPr snapToGrid="0">
      <p:cViewPr varScale="1">
        <p:scale>
          <a:sx n="56" d="100"/>
          <a:sy n="56" d="100"/>
        </p:scale>
        <p:origin x="1926" y="60"/>
      </p:cViewPr>
      <p:guideLst>
        <p:guide pos="2880"/>
        <p:guide orient="horz" pos="159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16" Type="http://schemas.openxmlformats.org/officeDocument/2006/relationships/slide" Target="slides/slide10.xml"/><Relationship Id="rId11" Type="http://schemas.openxmlformats.org/officeDocument/2006/relationships/slide" Target="slides/slide5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74" Type="http://schemas.openxmlformats.org/officeDocument/2006/relationships/notesMaster" Target="notesMasters/notesMaster1.xml"/><Relationship Id="rId79" Type="http://schemas.openxmlformats.org/officeDocument/2006/relationships/tableStyles" Target="tableStyles.xml"/><Relationship Id="rId5" Type="http://schemas.openxmlformats.org/officeDocument/2006/relationships/customXml" Target="../customXml/item5.xml"/><Relationship Id="rId61" Type="http://schemas.openxmlformats.org/officeDocument/2006/relationships/slide" Target="slides/slide55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viewProps" Target="viewProp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theme" Target="theme/theme1.xml"/><Relationship Id="rId81" Type="http://schemas.microsoft.com/office/2018/10/relationships/authors" Target="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presProps" Target="presProps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2" Type="http://schemas.openxmlformats.org/officeDocument/2006/relationships/customXml" Target="../customXml/item2.xml"/><Relationship Id="rId29" Type="http://schemas.openxmlformats.org/officeDocument/2006/relationships/slide" Target="slides/slide23.xml"/><Relationship Id="rId24" Type="http://schemas.openxmlformats.org/officeDocument/2006/relationships/slide" Target="slides/slide18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66" Type="http://schemas.openxmlformats.org/officeDocument/2006/relationships/slide" Target="slides/slide6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03228F9-A2C1-482A-9600-35F3610B81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E6DD098-AF39-4EC6-A3A4-C52AA810A72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5EB128-51B8-42C7-8B26-D0F320982305}" type="datetimeFigureOut">
              <a:rPr lang="en-US" smtClean="0"/>
              <a:t>12/26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82D67EE-AE13-4715-B4C1-659CFA7B8B2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DA0377-8AE5-47B8-A48C-ADF077F749B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89BDD8-8E42-4415-AD2E-B0DA441CBE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25807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EAD866-0404-48F8-BA09-989A590EAA71}" type="datetimeFigureOut">
              <a:rPr lang="en-GB" smtClean="0"/>
              <a:t>26/12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7ED427-83B0-4210-9E7F-EDD2FDBFC6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27748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ddit.com/r/powerwashingporn/comments/hakzoj/sweating_a_years_worth_of_tobacco_stains_off_the/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ulux.in/en/colour-inspiration/team-dramatic-accents-delicate-shades" TargetMode="External"/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www.flaticon.com/free-icon/no-odor_5266847?term=odor&amp;page=1&amp;position=82&amp;origin=search&amp;related_id=5266847" TargetMode="External"/><Relationship Id="rId4" Type="http://schemas.openxmlformats.org/officeDocument/2006/relationships/hyperlink" Target="https://www.flaticon.com/free-icon/protection_2873576?term=germ+protection&amp;page=1&amp;position=20&amp;origin=search&amp;related_id=2873576" TargetMode="Externa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ulux.in/en/products/dulux-superclean/cccId_1561503?size=1Litre" TargetMode="External"/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b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cript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lcome to the Vibrant World of Colours with Dulux Paints Pakistan – Where Your Imagination Meets Infinite Possibilities!</a:t>
            </a:r>
            <a:endParaRPr lang="en-IN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11067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cript: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t's explore how Dulux Ambiance can solve Farah’s first problem.</a:t>
            </a:r>
            <a:endParaRPr lang="en-IN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i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ick on the puzzle icon to hear Farah’s problem.</a:t>
            </a:r>
            <a:endParaRPr lang="en-GB"/>
          </a:p>
          <a:p>
            <a:r>
              <a:rPr lang="en-GB" b="1"/>
              <a:t>Developer Notes:</a:t>
            </a:r>
            <a:endParaRPr lang="en-US" b="1">
              <a:ea typeface="Calibri"/>
              <a:cs typeface="Calibri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/>
              <a:t>Show </a:t>
            </a:r>
            <a:r>
              <a:rPr lang="en-US" err="1"/>
              <a:t>farah</a:t>
            </a:r>
            <a:r>
              <a:rPr lang="en-US"/>
              <a:t> tensed</a:t>
            </a:r>
            <a:endParaRPr lang="en-US">
              <a:ea typeface="Calibri"/>
              <a:cs typeface="Calibri"/>
            </a:endParaRPr>
          </a:p>
          <a:p>
            <a:pPr marL="0" indent="0">
              <a:buNone/>
            </a:pPr>
            <a:r>
              <a:rPr lang="en-US" b="1"/>
              <a:t>Image Links:</a:t>
            </a:r>
          </a:p>
          <a:p>
            <a:pPr marL="0" indent="0">
              <a:buNone/>
            </a:pPr>
            <a:r>
              <a:rPr lang="en-US"/>
              <a:t>https://www.freepik.com/free-photo/studio-background-concept-abstract-empty-light-gradient-purple-studio-room-background-product_15826661.htm#query=purple&amp;position=18&amp;from_view=search&amp;track=sph&amp;uuid=4bc23b31-aa16-4bb3-8bc4-5da2f35be7b4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73057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cript: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 often find myself wondering how I can shape my home to fill me with pride and joy. Can the colours and style I choose truly achieve that?</a:t>
            </a:r>
            <a:endParaRPr lang="en-IN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/>
          </a:p>
          <a:p>
            <a:r>
              <a:rPr lang="en-GB" b="1"/>
              <a:t>Developer Notes:</a:t>
            </a:r>
            <a:endParaRPr lang="en-US" b="1">
              <a:ea typeface="Calibri"/>
              <a:cs typeface="Calibri"/>
            </a:endParaRPr>
          </a:p>
          <a:p>
            <a:pPr marL="0" indent="0">
              <a:buFont typeface="+mj-lt"/>
              <a:buNone/>
            </a:pPr>
            <a:r>
              <a:rPr lang="en-US"/>
              <a:t>Show speech bubble for </a:t>
            </a:r>
            <a:r>
              <a:rPr lang="en-US" err="1"/>
              <a:t>farah</a:t>
            </a:r>
            <a:r>
              <a:rPr lang="en-US"/>
              <a:t> where she is tensed looking at her wall.</a:t>
            </a:r>
            <a:endParaRPr lang="en-US">
              <a:ea typeface="Calibri"/>
              <a:cs typeface="Calibri"/>
            </a:endParaRPr>
          </a:p>
          <a:p>
            <a:pPr marL="0" indent="0">
              <a:buNone/>
            </a:pPr>
            <a:r>
              <a:rPr lang="en-US" b="1">
                <a:cs typeface="Calibri"/>
              </a:rPr>
              <a:t>Media Links:</a:t>
            </a:r>
          </a:p>
          <a:p>
            <a:pPr marL="0" indent="0">
              <a:buNone/>
            </a:pPr>
            <a:r>
              <a:rPr lang="en-US"/>
              <a:t>https://www.freepik.com/free-photo/studio-background-concept-abstract-empty-light-gradient-purple-studio-room-background-product_15826661.htm#query=purple&amp;position=18&amp;from_view=search&amp;track=sph&amp;uuid=4bc23b31-aa16-4bb3-8bc4-5da2f35be7b4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55091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b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dressing Farah’s concerns, Dulux Ambiance offers a range of benefits.  </a:t>
            </a:r>
          </a:p>
          <a:p>
            <a:pPr>
              <a:lnSpc>
                <a:spcPct val="107000"/>
              </a:lnSpc>
            </a:pPr>
            <a:r>
              <a:rPr lang="en-US" kern="100"/>
              <a:t>You can experience </a:t>
            </a:r>
            <a:r>
              <a:rPr lang="en-US" kern="100">
                <a:effectLst/>
              </a:rPr>
              <a:t>rich and vibrant </a:t>
            </a:r>
            <a:r>
              <a:rPr lang="en-US" kern="100" err="1">
                <a:effectLst/>
              </a:rPr>
              <a:t>colours</a:t>
            </a:r>
            <a:r>
              <a:rPr lang="en-US" kern="100">
                <a:effectLst/>
              </a:rPr>
              <a:t> that maintain the beauty of your home over time.</a:t>
            </a:r>
            <a:r>
              <a:rPr lang="en-US" kern="100"/>
              <a:t> The </a:t>
            </a:r>
            <a:r>
              <a:rPr lang="en-US" kern="100">
                <a:effectLst/>
              </a:rPr>
              <a:t>timeless and enduring classic </a:t>
            </a:r>
            <a:r>
              <a:rPr lang="en-US" kern="100" err="1">
                <a:effectLst/>
              </a:rPr>
              <a:t>colours</a:t>
            </a:r>
            <a:r>
              <a:rPr lang="en-US" kern="100">
                <a:effectLst/>
              </a:rPr>
              <a:t> effortlessly reflect the latest design trends.</a:t>
            </a:r>
            <a:r>
              <a:rPr lang="en-US" kern="100"/>
              <a:t> Moreover, the </a:t>
            </a:r>
            <a:r>
              <a:rPr lang="en-US" kern="100">
                <a:effectLst/>
              </a:rPr>
              <a:t>anti-fungus and anti-</a:t>
            </a:r>
            <a:r>
              <a:rPr lang="en-US" kern="100" err="1">
                <a:effectLst/>
              </a:rPr>
              <a:t>mould</a:t>
            </a:r>
            <a:r>
              <a:rPr lang="en-US" kern="100">
                <a:effectLst/>
              </a:rPr>
              <a:t> </a:t>
            </a:r>
            <a:r>
              <a:rPr lang="en-US" kern="100"/>
              <a:t>options </a:t>
            </a:r>
            <a:r>
              <a:rPr lang="en-US" kern="100">
                <a:effectLst/>
              </a:rPr>
              <a:t>protect your walls, preventing damage and preserving their integrity.</a:t>
            </a:r>
            <a:endParaRPr lang="en-US" kern="100">
              <a:ea typeface="Calibri" panose="020F0502020204030204"/>
              <a:cs typeface="Calibri" panose="020F0502020204030204"/>
            </a:endParaRPr>
          </a:p>
          <a:p>
            <a:r>
              <a:rPr lang="en-GB" b="1"/>
              <a:t>Developer Notes</a:t>
            </a:r>
            <a:endParaRPr lang="en-US" b="1">
              <a:ea typeface="Calibri"/>
              <a:cs typeface="Calibri"/>
            </a:endParaRPr>
          </a:p>
          <a:p>
            <a:pPr marL="0" indent="0">
              <a:buFont typeface="+mj-lt"/>
              <a:buNone/>
            </a:pPr>
            <a:r>
              <a:rPr lang="en-US"/>
              <a:t>Show </a:t>
            </a:r>
            <a:r>
              <a:rPr lang="en-US" err="1"/>
              <a:t>ost</a:t>
            </a:r>
            <a:r>
              <a:rPr lang="en-US"/>
              <a:t> syncing with Vo.</a:t>
            </a:r>
            <a:endParaRPr lang="en-US">
              <a:ea typeface="Calibri"/>
              <a:cs typeface="Calibri"/>
            </a:endParaRPr>
          </a:p>
          <a:p>
            <a:pPr marL="228600" indent="-228600">
              <a:buAutoNum type="arabicPeriod"/>
            </a:pPr>
            <a:endParaRPr lang="en-US">
              <a:ea typeface="Calibri"/>
              <a:cs typeface="Calibri"/>
            </a:endParaRPr>
          </a:p>
          <a:p>
            <a:pPr marL="0" indent="0">
              <a:buNone/>
            </a:pPr>
            <a:r>
              <a:rPr lang="en-US" b="1"/>
              <a:t>Image Link:</a:t>
            </a:r>
          </a:p>
          <a:p>
            <a:pPr marL="0" indent="0">
              <a:buNone/>
            </a:pPr>
            <a:r>
              <a:rPr lang="en-US"/>
              <a:t>https://www.dulux.in/en/colour-inspiration/how-a-home-can-draw-its-power-from-colours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57130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cript: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t’s now unlock some extraordinary features that set Dulux Ambiance apart.</a:t>
            </a:r>
          </a:p>
          <a:p>
            <a:r>
              <a:rPr lang="en-GB" b="1"/>
              <a:t>Developer Notes:</a:t>
            </a:r>
            <a:endParaRPr lang="en-US" b="1">
              <a:ea typeface="Calibri"/>
              <a:cs typeface="Calibri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/>
              <a:t>Show OST in sync with the VO</a:t>
            </a:r>
            <a:endParaRPr lang="en-US" b="1"/>
          </a:p>
          <a:p>
            <a:r>
              <a:rPr lang="en-US" b="1"/>
              <a:t>Image links:</a:t>
            </a:r>
            <a:endParaRPr lang="en-US" b="1">
              <a:ea typeface="Calibri" panose="020F0502020204030204"/>
              <a:cs typeface="Calibri" panose="020F050202020403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/>
              <a:t>https://www.dulux.in/en/colour-inspiration/team-dramatic-accents-delicate-shade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56595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Transcrip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ick on each icon to learn mor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IN" sz="12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b="1"/>
              <a:t>Developer Not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/>
              <a:t>https://www.dulux.in/en/colour-inspiration/create-your-perfect-colour-scheme</a:t>
            </a:r>
            <a:endParaRPr lang="en-GB">
              <a:ea typeface="Calibri"/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https://www.flaticon.com/free-icon/padlock_3064155?term=lock&amp;page=1&amp;position=5&amp;origin=search&amp;related_id=3064155</a:t>
            </a:r>
            <a:endParaRPr lang="en-US">
              <a:ea typeface="Calibri"/>
              <a:cs typeface="Calibri"/>
            </a:endParaRPr>
          </a:p>
          <a:p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20643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Transcript: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perience the enduring allure of a </a:t>
            </a:r>
            <a:r>
              <a:rPr lang="en-US" sz="1800" b="0" u="sng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mooth finish</a:t>
            </a: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ensuring your space radiates elegance and style.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leash the potential of every can, covering </a:t>
            </a:r>
            <a:r>
              <a:rPr lang="en-US" sz="1800" u="sng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6-18 square meters per litre </a:t>
            </a: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th our efficient paint solution.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mbrace uncompromising quality with our </a:t>
            </a:r>
            <a:r>
              <a:rPr lang="en-US" sz="1800" u="sng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gh-opacity paint</a:t>
            </a: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concealing imperfections for a flawless, vibrant result.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oose from a stunning array of </a:t>
            </a:r>
            <a:r>
              <a:rPr lang="en-US" sz="1800" u="sng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77 colours</a:t>
            </a: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ensuring your perfect shade is just a brushstroke away.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joy peace of mind with </a:t>
            </a:r>
            <a:r>
              <a:rPr lang="en-US" sz="1800" u="sng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erior washability </a:t>
            </a: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suring your walls stay vibrant and easy to maintain.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perience </a:t>
            </a:r>
            <a:r>
              <a:rPr lang="en-US" sz="1800" u="sng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best-in-class colour fastness</a:t>
            </a: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guaranteeing that your chosen hues remain vivid and beautiful over time.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nefit from superior </a:t>
            </a:r>
            <a:r>
              <a:rPr lang="en-US" sz="1800" u="sng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uld and fungus protection</a:t>
            </a: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preserving your walls and ensuring a healthy living environment.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unt on long-lasting </a:t>
            </a:r>
            <a:r>
              <a:rPr lang="en-US" sz="1800" u="sng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ability</a:t>
            </a: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at stands the test of time, maintaining the beauty of your walls.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vailable in two sizes, 1 L, 4 L.</a:t>
            </a:r>
          </a:p>
          <a:p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06469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>
              <a:defRPr/>
            </a:pP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As a result, Farah resolves her first issue with Dulux Ambiance, which gives her a good feeling and sense of pride through the </a:t>
            </a:r>
            <a:r>
              <a:rPr lang="en-US" sz="1800" kern="100" dirty="0" err="1">
                <a:effectLst/>
                <a:latin typeface="Calibri"/>
                <a:ea typeface="Calibri"/>
                <a:cs typeface="Calibri"/>
              </a:rPr>
              <a:t>colours</a:t>
            </a: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 and style.</a:t>
            </a:r>
            <a:r>
              <a:rPr lang="en-US" sz="1800" kern="100" dirty="0">
                <a:latin typeface="Calibri"/>
                <a:ea typeface="Calibri"/>
                <a:cs typeface="Calibri"/>
              </a:rPr>
              <a:t> 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/>
            </a:endParaRPr>
          </a:p>
          <a:p>
            <a:r>
              <a:rPr lang="en-GB" dirty="0"/>
              <a:t>Developer Notes</a:t>
            </a:r>
            <a:endParaRPr lang="en-US" dirty="0"/>
          </a:p>
          <a:p>
            <a:pPr marL="228600" indent="-228600">
              <a:buAutoNum type="arabicPeriod"/>
            </a:pPr>
            <a:r>
              <a:rPr lang="en-US" dirty="0"/>
              <a:t>Show Farah looking happy. All her walls got newly painted.</a:t>
            </a:r>
            <a:endParaRPr lang="en-US" dirty="0">
              <a:ea typeface="Calibri"/>
              <a:cs typeface="Calibri"/>
            </a:endParaRPr>
          </a:p>
          <a:p>
            <a:endParaRPr lang="en-US" b="0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9048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lux </a:t>
            </a:r>
            <a:r>
              <a:rPr lang="en-US" sz="1800" kern="10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asyCare</a:t>
            </a: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featuring </a:t>
            </a:r>
            <a:r>
              <a:rPr lang="en-US" sz="1800" kern="10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idproof</a:t>
            </a: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+ and </a:t>
            </a:r>
            <a:r>
              <a:rPr lang="en-US" sz="1800" kern="10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ourGuard</a:t>
            </a:r>
            <a:r>
              <a:rPr lang="en-GB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chnology, effectively delays the penetration of stains, allowing for effortless cleaning, and preserving the freshness and cleanliness of your walls respectively. </a:t>
            </a:r>
          </a:p>
          <a:p>
            <a:r>
              <a:rPr lang="en-GB" b="1"/>
              <a:t>Developer Notes:</a:t>
            </a:r>
            <a:endParaRPr lang="en-US" b="1">
              <a:cs typeface="Calibri"/>
            </a:endParaRPr>
          </a:p>
          <a:p>
            <a:r>
              <a:rPr lang="en-US"/>
              <a:t>Show OST in sync with the VO.</a:t>
            </a:r>
          </a:p>
          <a:p>
            <a:r>
              <a:rPr lang="en-US" b="1"/>
              <a:t>Image links:</a:t>
            </a:r>
            <a:endParaRPr lang="en-US" b="1">
              <a:ea typeface="Calibri" panose="020F0502020204030204"/>
              <a:cs typeface="Calibri" panose="020F0502020204030204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GB"/>
              <a:t>https://www.dulux.in/en/superclean-3in1</a:t>
            </a:r>
          </a:p>
          <a:p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111186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b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t's explore how Dulux </a:t>
            </a:r>
            <a:r>
              <a:rPr lang="en-US" sz="1800" kern="10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asyCare</a:t>
            </a: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an address Farah’s second problem.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i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ck on the puzzle icon to hear Farah’s problem.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/>
          </a:p>
          <a:p>
            <a:r>
              <a:rPr lang="en-GB" b="1"/>
              <a:t>Developer Notes</a:t>
            </a:r>
            <a:r>
              <a:rPr lang="en-US" b="1">
                <a:cs typeface="Calibri"/>
              </a:rPr>
              <a:t>:</a:t>
            </a:r>
          </a:p>
          <a:p>
            <a:r>
              <a:rPr lang="en-US"/>
              <a:t>Show Farah tensed while looking at the walls</a:t>
            </a:r>
            <a:endParaRPr lang="en-US">
              <a:ea typeface="Calibri"/>
              <a:cs typeface="Calibri"/>
            </a:endParaRPr>
          </a:p>
          <a:p>
            <a:pPr marL="0" indent="0">
              <a:buFont typeface="+mj-lt"/>
              <a:buNone/>
            </a:pPr>
            <a:endParaRPr lang="en-US"/>
          </a:p>
          <a:p>
            <a:r>
              <a:rPr lang="en-US" b="1"/>
              <a:t>Image links:</a:t>
            </a:r>
            <a:endParaRPr lang="en-US" b="1">
              <a:ea typeface="Calibri" panose="020F0502020204030204"/>
              <a:cs typeface="Calibri" panose="020F050202020403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/>
              <a:t>https://www.flaticon.com/free-icon/puzzle_718022?term=puzzle&amp;page=1&amp;position=22&amp;origin=search&amp;related_id=718022</a:t>
            </a:r>
            <a:endParaRPr lang="en-GB">
              <a:ea typeface="Calibri"/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https://www.google.com/url?sa=i&amp;url=https%3A%2F%2Fm.youtube.com%2Fwatch%3Fv%3DurHjqXsIKL0&amp;psig=AOvVaw3ye8rQG3rbgEWWqq4lwJ9l&amp;ust=1697797818531000&amp;source=images&amp;cd=vfe&amp;opi=89978449&amp;ved=0CBEQjRxqFwoTCNCV1PDzgYIDFQAAAAAdAAAAABAE</a:t>
            </a:r>
            <a:endParaRPr lang="en-US">
              <a:ea typeface="Calibri"/>
              <a:cs typeface="Calibri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84208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kern="100" dirty="0">
                <a:effectLst/>
                <a:latin typeface="Calibri"/>
                <a:ea typeface="Calibri"/>
                <a:cs typeface="Calibri"/>
              </a:rPr>
              <a:t>Transcrip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kern="100" dirty="0">
                <a:effectLst/>
                <a:latin typeface="Calibri"/>
                <a:ea typeface="Calibri"/>
                <a:cs typeface="Calibri"/>
              </a:rPr>
              <a:t>When painting a room, I want my walls to look good and stand the test of time however I know that daily life will eventually take its toll on them. How can I address this concern?</a:t>
            </a:r>
            <a:endParaRPr lang="en-US" sz="1800" kern="100" dirty="0">
              <a:effectLst/>
              <a:latin typeface="Calibri"/>
              <a:ea typeface="Calibri"/>
              <a:cs typeface="Calibri"/>
            </a:endParaRPr>
          </a:p>
          <a:p>
            <a:r>
              <a:rPr lang="en-GB" b="1" dirty="0"/>
              <a:t>Developer Notes</a:t>
            </a:r>
            <a:endParaRPr lang="en-US" b="1" dirty="0">
              <a:ea typeface="Calibri"/>
              <a:cs typeface="Calibri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Show Farah tensed while looking at the walls. </a:t>
            </a:r>
            <a:endParaRPr lang="en-US" dirty="0">
              <a:ea typeface="Calibri"/>
              <a:cs typeface="Calibri"/>
            </a:endParaRPr>
          </a:p>
          <a:p>
            <a:pPr marL="228600" indent="-228600">
              <a:buAutoNum type="arabicPeriod"/>
            </a:pPr>
            <a:r>
              <a:rPr lang="en-US" dirty="0">
                <a:ea typeface="Calibri"/>
                <a:cs typeface="Calibri"/>
              </a:rPr>
              <a:t>Show dull walls.</a:t>
            </a:r>
            <a:endParaRPr lang="en-US" dirty="0"/>
          </a:p>
          <a:p>
            <a:pPr marL="0" indent="0">
              <a:buFont typeface="+mj-lt"/>
              <a:buNone/>
            </a:pPr>
            <a:r>
              <a:rPr lang="en-US" b="1" dirty="0"/>
              <a:t>Image links:</a:t>
            </a:r>
            <a:endParaRPr lang="en-US" b="1" dirty="0">
              <a:ea typeface="Calibri"/>
              <a:cs typeface="Calibri"/>
            </a:endParaRPr>
          </a:p>
          <a:p>
            <a:pPr marL="0" indent="0">
              <a:buFont typeface="+mj-lt"/>
              <a:buNone/>
            </a:pPr>
            <a:r>
              <a:rPr lang="en-GB" dirty="0">
                <a:hlinkClick r:id="rId3"/>
              </a:rPr>
              <a:t>https://www.reddit.com/r/powerwashingporn/comments/hakzoj/sweating_a_years_worth_of_tobacco_stains_off_the/</a:t>
            </a:r>
            <a:endParaRPr lang="en-GB" dirty="0">
              <a:ea typeface="Calibri"/>
              <a:cs typeface="Calibri"/>
              <a:hlinkClick r:id="" action="ppaction://noaction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49830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b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cript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 offer a spectrum of paint solutions, each catering to specific needs and aesthetics. </a:t>
            </a:r>
            <a:endParaRPr lang="en-IN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i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ick on each category to begin your exploration.</a:t>
            </a:r>
            <a:endParaRPr lang="en-IN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GB"/>
          </a:p>
          <a:p>
            <a:r>
              <a:rPr lang="en-GB" b="1"/>
              <a:t>Developer Notes:</a:t>
            </a:r>
            <a:endParaRPr lang="en-US" b="1">
              <a:ea typeface="Calibri"/>
              <a:cs typeface="Calibri"/>
            </a:endParaRPr>
          </a:p>
          <a:p>
            <a:pPr marL="228600" indent="-228600">
              <a:buAutoNum type="arabicPeriod"/>
            </a:pPr>
            <a:r>
              <a:rPr lang="en-US"/>
              <a:t>Show six clickable tabs</a:t>
            </a:r>
            <a:endParaRPr lang="en-US">
              <a:ea typeface="Calibri"/>
              <a:cs typeface="Calibri"/>
            </a:endParaRPr>
          </a:p>
          <a:p>
            <a:endParaRPr lang="en-US"/>
          </a:p>
          <a:p>
            <a:r>
              <a:rPr lang="en-US" b="1"/>
              <a:t>Image links:</a:t>
            </a:r>
            <a:endParaRPr lang="en-US" b="1">
              <a:cs typeface="Calibri"/>
            </a:endParaRPr>
          </a:p>
          <a:p>
            <a:r>
              <a:rPr lang="en-US"/>
              <a:t>https://www.freepik.com/free-photo/road-city_1278133.htm#query=house%20image&amp;position=21&amp;from_view=search&amp;track=ais&amp;uuid=fdfd70d5-e05f-449c-82d3-c411ddb107e0</a:t>
            </a:r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29674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GB" sz="1800" b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lux </a:t>
            </a:r>
            <a:r>
              <a:rPr lang="en-GB" sz="1800" kern="10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asyCare</a:t>
            </a:r>
            <a:r>
              <a:rPr lang="en-GB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rovides many advantages in response to Farah's worries.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/>
          </a:p>
          <a:p>
            <a:r>
              <a:rPr lang="en-GB" b="1"/>
              <a:t>Developer Notes</a:t>
            </a:r>
            <a:endParaRPr lang="en-US" b="1">
              <a:ea typeface="Calibri"/>
              <a:cs typeface="Calibri"/>
            </a:endParaRPr>
          </a:p>
          <a:p>
            <a:pPr marL="0" indent="0">
              <a:buFont typeface="+mj-lt"/>
              <a:buNone/>
            </a:pPr>
            <a:r>
              <a:rPr lang="en-US"/>
              <a:t>Show OST in sync with the VO</a:t>
            </a:r>
            <a:endParaRPr lang="en-US">
              <a:ea typeface="Calibri"/>
              <a:cs typeface="Calibri"/>
            </a:endParaRPr>
          </a:p>
          <a:p>
            <a:pPr>
              <a:buFont typeface="+mj-lt"/>
            </a:pPr>
            <a:endParaRPr lang="en-US">
              <a:ea typeface="Calibri"/>
              <a:cs typeface="Calibri"/>
            </a:endParaRPr>
          </a:p>
          <a:p>
            <a:r>
              <a:rPr lang="en-US" b="1"/>
              <a:t>Image links:</a:t>
            </a:r>
            <a:endParaRPr lang="en-US" b="1">
              <a:ea typeface="Calibri" panose="020F0502020204030204"/>
              <a:cs typeface="Calibri" panose="020F0502020204030204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GB"/>
              <a:t>https://www.dulux.in/en/colour-inspiration/team-dramatic-accents-delicate-shades</a:t>
            </a:r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95654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·	</a:t>
            </a:r>
            <a:r>
              <a:rPr lang="en-GB" sz="1200" b="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ts </a:t>
            </a:r>
            <a:r>
              <a:rPr lang="en-GB" sz="1200" b="0" u="sng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rm Protection</a:t>
            </a:r>
            <a:r>
              <a:rPr lang="en-GB" sz="1200" b="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roperty keeps your walls sparkling clean and fresh for a long time.</a:t>
            </a:r>
            <a:endParaRPr lang="en-US" sz="1200" b="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·	The </a:t>
            </a:r>
            <a:r>
              <a:rPr lang="en-GB" sz="1200" b="0" u="sng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ti-Mould and Anti-Fungus </a:t>
            </a:r>
            <a:r>
              <a:rPr lang="en-GB" sz="1200" b="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perty safeguards your walls from unsightly mould and fungus growth.</a:t>
            </a:r>
            <a:endParaRPr lang="en-US" sz="1200" b="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·	 Its </a:t>
            </a:r>
            <a:r>
              <a:rPr lang="en-GB" sz="1200" b="0" u="sng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w Odour/VOC </a:t>
            </a:r>
            <a:r>
              <a:rPr lang="en-GB" sz="1200" b="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ture ensures a pleasant painting experience with minimal fumes and environmental impact.</a:t>
            </a:r>
            <a:endParaRPr lang="en-US" sz="1200" b="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·	The </a:t>
            </a:r>
            <a:r>
              <a:rPr lang="en-GB" sz="1200" b="0" u="sng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ti-Viral Silver Ion Technology </a:t>
            </a:r>
            <a:r>
              <a:rPr lang="en-GB" sz="1200" b="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ds an extra layer of protection against harmful viruses, bolstering your wall's hygiene and safety.</a:t>
            </a:r>
            <a:endParaRPr lang="en-US" sz="1200" b="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b="1"/>
              <a:t>Developer Notes</a:t>
            </a:r>
            <a:endParaRPr lang="en-US" b="1">
              <a:ea typeface="Calibri"/>
              <a:cs typeface="Calibri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/>
              <a:t>Show OST in sync with the VO</a:t>
            </a:r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  <a:p>
            <a:pPr>
              <a:buFont typeface="+mj-lt"/>
            </a:pPr>
            <a:endParaRPr lang="en-US"/>
          </a:p>
          <a:p>
            <a:r>
              <a:rPr lang="en-US" b="1"/>
              <a:t>Image links:</a:t>
            </a:r>
            <a:endParaRPr lang="en-US" b="1">
              <a:ea typeface="Calibri" panose="020F0502020204030204"/>
              <a:cs typeface="Calibri" panose="020F050202020403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>
                <a:hlinkClick r:id="rId3"/>
              </a:rPr>
              <a:t>https://www.dulux.in/en/colour-inspiration/team-dramatic-accents-delicate-shades</a:t>
            </a:r>
            <a:endParaRPr lang="en-US">
              <a:ea typeface="Calibri" panose="020F0502020204030204"/>
              <a:cs typeface="Calibri" panose="020F050202020403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>
                <a:hlinkClick r:id="rId4"/>
              </a:rPr>
              <a:t>https://www.flaticon.com/free-icon/protection_2873576?term=germ+protection&amp;page=1&amp;position=20&amp;origin=search&amp;related_id=2873576</a:t>
            </a:r>
            <a:endParaRPr lang="en-GB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>
                <a:hlinkClick r:id="rId5"/>
              </a:rPr>
              <a:t>https://www.flaticon.com/free-icon/no-odor_5266847?term=odor&amp;page=1&amp;position=82&amp;origin=search&amp;related_id=5266847</a:t>
            </a:r>
            <a:endParaRPr lang="en-GB">
              <a:ea typeface="Calibri"/>
              <a:cs typeface="Calibri"/>
              <a:hlinkClick r:id="rId5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589943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w, let's explore the exceptional features that make the Dulux </a:t>
            </a:r>
            <a:r>
              <a:rPr lang="en-GB" sz="1800" kern="10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asyCare</a:t>
            </a:r>
            <a:r>
              <a:rPr lang="en-GB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tand out.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447771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200" i="1" kern="100" dirty="0">
                <a:effectLst/>
                <a:latin typeface="Calibri"/>
                <a:ea typeface="Calibri"/>
                <a:cs typeface="Calibri"/>
              </a:rPr>
              <a:t>Click on each icon to learn more.</a:t>
            </a:r>
            <a:endParaRPr lang="en-US" sz="1200" kern="100" dirty="0">
              <a:effectLst/>
              <a:latin typeface="Calibri"/>
              <a:ea typeface="Calibri"/>
              <a:cs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kern="100" dirty="0">
                <a:effectLst/>
                <a:latin typeface="Calibri"/>
                <a:ea typeface="Calibri"/>
                <a:cs typeface="Calibri"/>
              </a:rPr>
              <a:t>·	</a:t>
            </a:r>
            <a:endParaRPr lang="en-GB" kern="100" dirty="0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058360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200" i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ck on each icon to learn more.</a:t>
            </a:r>
            <a:endParaRPr lang="en-US" sz="12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·	Achieve a flawlessly smooth finish with Dulux </a:t>
            </a:r>
            <a:r>
              <a:rPr lang="en-GB" sz="1200" kern="10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asyCare</a:t>
            </a:r>
            <a:r>
              <a:rPr lang="en-GB" sz="12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terior Paint.</a:t>
            </a:r>
            <a:endParaRPr lang="en-US" sz="12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·	Benefit from extensive coverage, with 13-15 square meters per litre.</a:t>
            </a:r>
            <a:endParaRPr lang="en-US" sz="12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·	Experience High Opacity that conceals imperfections with ease.</a:t>
            </a:r>
            <a:endParaRPr lang="en-US" sz="12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·	Explore a palette of 2077 colours for endless design possibilities.</a:t>
            </a:r>
            <a:endParaRPr lang="en-US" sz="12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·	Enjoy best-in-class washability for easy maintenance and upkeep.</a:t>
            </a:r>
            <a:endParaRPr lang="en-US" sz="12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·	Witness superior colour fastness that keeps your walls vibrant.</a:t>
            </a:r>
            <a:endParaRPr lang="en-US" sz="12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·	Ensure superior protection against mould and fungus.</a:t>
            </a:r>
            <a:endParaRPr lang="en-US" sz="12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·	Choose from various sizes, including 1L, 4L and 16 L to suit your needs.</a:t>
            </a:r>
            <a:endParaRPr lang="en-US" sz="12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·	Experience long-lasting durability that keeps your walls looking great for years.</a:t>
            </a:r>
            <a:endParaRPr lang="en-US" sz="12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b="0"/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152890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Transcrip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00" dirty="0">
                <a:effectLst/>
                <a:latin typeface="Calibri"/>
                <a:ea typeface="Calibri"/>
                <a:cs typeface="Calibri"/>
              </a:rPr>
              <a:t>Consequently, Farah successfully addresses her second concern by using Dulux </a:t>
            </a:r>
            <a:r>
              <a:rPr lang="en-US" sz="1200" kern="100" dirty="0" err="1">
                <a:effectLst/>
                <a:latin typeface="Calibri"/>
                <a:ea typeface="Calibri"/>
                <a:cs typeface="Calibri"/>
              </a:rPr>
              <a:t>EasyCare</a:t>
            </a:r>
            <a:r>
              <a:rPr lang="en-US" sz="1200" kern="100" dirty="0">
                <a:effectLst/>
                <a:latin typeface="Calibri"/>
                <a:ea typeface="Calibri"/>
                <a:cs typeface="Calibri"/>
              </a:rPr>
              <a:t>, ensuring her walls maintain their appearance and durability over time.</a:t>
            </a:r>
          </a:p>
          <a:p>
            <a:pPr algn="l" rtl="0" fontAlgn="base"/>
            <a:r>
              <a:rPr lang="en-GB" b="1" dirty="0"/>
              <a:t>Developer Notes:</a:t>
            </a:r>
            <a:endParaRPr lang="en-US" b="1" dirty="0">
              <a:ea typeface="Calibri"/>
              <a:cs typeface="Calibri"/>
            </a:endParaRPr>
          </a:p>
          <a:p>
            <a:r>
              <a:rPr lang="en-US" dirty="0"/>
              <a:t>Show Farah looking happy. All her walls looks well maintained. </a:t>
            </a:r>
            <a:endParaRPr lang="en-US" dirty="0">
              <a:ea typeface="Calibri"/>
              <a:cs typeface="Calibri"/>
            </a:endParaRPr>
          </a:p>
          <a:p>
            <a:r>
              <a:rPr lang="en-US" b="1" dirty="0"/>
              <a:t>Image links:</a:t>
            </a:r>
            <a:endParaRPr lang="en-US" b="1" dirty="0">
              <a:ea typeface="Calibri" panose="020F0502020204030204"/>
              <a:cs typeface="Calibri" panose="020F0502020204030204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>
                <a:hlinkClick r:id="rId3"/>
              </a:rPr>
              <a:t>https://www.dulux.in/en/products/dulux-superclean/cccId_1561503?size=1Litre</a:t>
            </a:r>
            <a:endParaRPr lang="en-US" dirty="0">
              <a:ea typeface="Calibri" panose="020F0502020204030204"/>
              <a:cs typeface="Calibri" panose="020F050202020403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>
              <a:ea typeface="Calibri"/>
              <a:cs typeface="Calibri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386648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Transcrip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lux </a:t>
            </a:r>
            <a:r>
              <a:rPr lang="en-US" sz="1800" kern="10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ntalite</a:t>
            </a: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lassic, featuring </a:t>
            </a:r>
            <a:r>
              <a:rPr lang="en-US" sz="1800" kern="10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Cover</a:t>
            </a: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+ and </a:t>
            </a:r>
            <a:r>
              <a:rPr lang="en-US" sz="1800" kern="10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ourGuard</a:t>
            </a: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echnology, ensures your home remains both well-protected and aesthetically pleasing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w this paint with the text boxes, sync with VO</a:t>
            </a:r>
          </a:p>
          <a:p>
            <a:endParaRPr lang="en-US" b="0"/>
          </a:p>
          <a:p>
            <a:r>
              <a:rPr lang="en-US" b="1"/>
              <a:t>Image Link:</a:t>
            </a:r>
          </a:p>
          <a:p>
            <a:r>
              <a:rPr lang="en-US" b="0"/>
              <a:t>https://www.dulux.com.pk/en/colour-inspiration/eid-interior-design-ideas-for-eleg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786501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Transcrip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t's delve into how Dulux </a:t>
            </a:r>
            <a:r>
              <a:rPr lang="en-US" sz="1800" kern="10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ntalite</a:t>
            </a: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lassic can tackle Farah’s upcoming issue.</a:t>
            </a:r>
            <a:endParaRPr lang="en-US" sz="12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ync with VO</a:t>
            </a:r>
          </a:p>
          <a:p>
            <a:r>
              <a:rPr lang="en-US" b="1"/>
              <a:t>Image Link: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248468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Transcrip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i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ck on the puzzle icon to hear Farah’s problem.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r>
              <a:rPr lang="en-US" b="1"/>
              <a:t>Image Link: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842095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Transcrip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y home is my pride and I want it to look the best. I want to paint with high coverage.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rah looking at her wall and being sad, then show the speech bubble. </a:t>
            </a:r>
          </a:p>
          <a:p>
            <a:r>
              <a:rPr lang="en-US" b="1"/>
              <a:t>Image Link:</a:t>
            </a:r>
          </a:p>
          <a:p>
            <a:r>
              <a:rPr lang="en-US"/>
              <a:t>https://www.freepik.com/free-photo/old-wall-background_5505937.htm#query=dirty%20walls&amp;position=11&amp;from_view=search&amp;track=ais&amp;uuid=f84a4ffd-74f1-4b73-bd96-eaeba760abd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06996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Transcript: </a:t>
            </a:r>
            <a:endParaRPr lang="en-GB" b="1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Meet Farah, a free-spirited woman who most often finds herself discontent with the present aesthetics of her home’s walls. </a:t>
            </a:r>
            <a:r>
              <a:rPr lang="en-US" sz="1800" kern="100" dirty="0">
                <a:latin typeface="Calibri"/>
                <a:ea typeface="Calibri"/>
                <a:cs typeface="Calibri"/>
              </a:rPr>
              <a:t> </a:t>
            </a:r>
            <a:endParaRPr lang="en-GB" b="0" dirty="0"/>
          </a:p>
          <a:p>
            <a:r>
              <a:rPr lang="en-GB" b="1" dirty="0"/>
              <a:t>Developer Notes</a:t>
            </a:r>
            <a:r>
              <a:rPr lang="en-US" b="1" dirty="0">
                <a:cs typeface="Calibri"/>
              </a:rPr>
              <a:t>:</a:t>
            </a:r>
            <a:endParaRPr lang="en-US" b="1" dirty="0">
              <a:ea typeface="Calibri"/>
              <a:cs typeface="Calibri"/>
            </a:endParaRPr>
          </a:p>
          <a:p>
            <a:r>
              <a:rPr lang="en-US" dirty="0"/>
              <a:t>Show </a:t>
            </a:r>
            <a:r>
              <a:rPr lang="en-US" dirty="0" err="1"/>
              <a:t>farah</a:t>
            </a:r>
            <a:r>
              <a:rPr lang="en-US" dirty="0"/>
              <a:t> looking at her home sad, show the cracks and the stains of the room in a 360 degree.</a:t>
            </a:r>
            <a:endParaRPr lang="en-US" dirty="0">
              <a:ea typeface="Calibri"/>
              <a:cs typeface="Calibri"/>
            </a:endParaRPr>
          </a:p>
          <a:p>
            <a:r>
              <a:rPr lang="en-US" b="1" dirty="0"/>
              <a:t>Image links:</a:t>
            </a:r>
            <a:endParaRPr lang="en-US" b="1" dirty="0">
              <a:ea typeface="Calibri" panose="020F0502020204030204"/>
              <a:cs typeface="Calibri" panose="020F0502020204030204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https://www.freepik.com/premium-vector/arabian-casual-woman-character-set_2609364.htm#query=lady%20charecter%20muslim&amp;position=29&amp;from_view=search&amp;track=ais&amp;uuid=c0631cd7-6e82-4e33-94c4-1a1687df892e</a:t>
            </a:r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170905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Transcrip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ulux </a:t>
            </a:r>
            <a:r>
              <a:rPr lang="en-US" sz="1800" kern="10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ntalite</a:t>
            </a: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lassic offers a range of benefits to address Farah’s issue.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r>
              <a:rPr lang="en-US" b="1"/>
              <a:t>Image Link: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828263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Due to its low VOC content, you can experience minimal </a:t>
            </a:r>
            <a:r>
              <a:rPr lang="en-US" sz="1800" kern="100" err="1">
                <a:effectLst/>
                <a:latin typeface="Calibri"/>
                <a:ea typeface="Calibri"/>
                <a:cs typeface="Calibri"/>
              </a:rPr>
              <a:t>odour</a:t>
            </a: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 and environmental impact.</a:t>
            </a:r>
          </a:p>
          <a:p>
            <a:pPr marL="342900" indent="-342900">
              <a:lnSpc>
                <a:spcPct val="107000"/>
              </a:lnSpc>
              <a:buFont typeface="Symbol" panose="05050102010706020507" pitchFamily="18" charset="2"/>
              <a:buChar char=""/>
              <a:defRPr/>
            </a:pPr>
            <a:r>
              <a:rPr lang="en-US" kern="100" dirty="0"/>
              <a:t>Additionally, its anti-mold and anti-fungus properties not only enhance the appearance of your walls but also provide protection.</a:t>
            </a:r>
            <a:endParaRPr lang="en-US" kern="100" dirty="0">
              <a:effectLst/>
              <a:ea typeface="Calibri"/>
              <a:cs typeface="Calibri"/>
            </a:endParaRPr>
          </a:p>
          <a:p>
            <a:pPr>
              <a:defRPr/>
            </a:pPr>
            <a:endParaRPr lang="en-US" kern="1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00" dirty="0">
                <a:effectLst/>
                <a:latin typeface="Calibri"/>
                <a:ea typeface="Calibri"/>
                <a:cs typeface="Calibri"/>
              </a:rPr>
              <a:t>Developer Notes:</a:t>
            </a:r>
          </a:p>
          <a:p>
            <a:r>
              <a:rPr lang="en-US" b="1" dirty="0"/>
              <a:t>Image Link:</a:t>
            </a:r>
            <a:endParaRPr lang="en-US" b="1" dirty="0">
              <a:ea typeface="Calibri"/>
              <a:cs typeface="Calibri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264012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addition to its numerous advantages, 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ulux </a:t>
            </a:r>
            <a:r>
              <a:rPr lang="en-US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ntalite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lassic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has distinctive features that set it apart. Let's discover what makes it unique.</a:t>
            </a:r>
          </a:p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650487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ck on each icon to learn more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550079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chieve a sleek and flawless finish with Dulux </a:t>
            </a:r>
            <a:r>
              <a:rPr lang="en-US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ntalite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lassic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perience extensive coverage with </a:t>
            </a:r>
            <a:r>
              <a:rPr lang="en-US" sz="1800" u="sng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4-16 square meters 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 litre, ensuring more value for your paint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joy </a:t>
            </a:r>
            <a:r>
              <a:rPr lang="en-US" sz="1800" u="sng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igh opacity 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at effectively conceals imperfections and enhances colour vibrancy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joy easy maintenance and cleaning with its good </a:t>
            </a:r>
            <a:r>
              <a:rPr lang="en-US" sz="1800" u="sng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shability feature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itness good </a:t>
            </a:r>
            <a:r>
              <a:rPr lang="en-US" sz="1800" u="sng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lour fastness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ensuring your walls retain their vibrant appearance over time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sure </a:t>
            </a:r>
            <a:r>
              <a:rPr lang="en-US" sz="1800" u="sng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perior protection against mould and fungus 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r long-lasting wall integrity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hoose from various sizes, </a:t>
            </a:r>
            <a:r>
              <a:rPr lang="en-US" sz="1800" u="sng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cluding 1L, 4L and 16 L to 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it your needs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pect </a:t>
            </a:r>
            <a:r>
              <a:rPr lang="en-US" sz="1800" u="sng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ong-lasting durability 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at keeps your walls looking great for years to come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3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637065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Transcript:</a:t>
            </a:r>
            <a:endParaRPr lang="en-US" sz="12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s a result, Farah’s issue was effectively resolved by Dulux </a:t>
            </a:r>
            <a:r>
              <a:rPr lang="en-US" sz="12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ntalite</a:t>
            </a:r>
            <a:r>
              <a:rPr lang="en-US" sz="12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lassic, guaranteeing walls that are free from stains and radiate beauty.</a:t>
            </a:r>
            <a:endParaRPr lang="en-US" sz="12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ea typeface="Calibri"/>
                <a:cs typeface="Calibri"/>
              </a:rPr>
              <a:t> </a:t>
            </a:r>
          </a:p>
          <a:p>
            <a:r>
              <a:rPr lang="en-US" b="1" dirty="0">
                <a:ea typeface="Calibri"/>
                <a:cs typeface="Calibri"/>
              </a:rPr>
              <a:t>Developer notes:</a:t>
            </a:r>
          </a:p>
          <a:p>
            <a:r>
              <a:rPr lang="en-US" dirty="0">
                <a:ea typeface="Calibri"/>
                <a:cs typeface="Calibri"/>
              </a:rPr>
              <a:t>Show Farah looking satisfied at her walls. </a:t>
            </a:r>
          </a:p>
          <a:p>
            <a:r>
              <a:rPr lang="en-US" dirty="0">
                <a:ea typeface="Calibri"/>
                <a:cs typeface="Calibri"/>
              </a:rPr>
              <a:t>Show the walls well painted now.</a:t>
            </a:r>
          </a:p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3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885851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lux Promise Interior, for interior walls, not only has </a:t>
            </a:r>
            <a:r>
              <a:rPr lang="en-SG" sz="1800" b="1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romaBrite</a:t>
            </a:r>
            <a:r>
              <a:rPr lang="en-SG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SG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chnology that can keep your wall brighter for longer period. </a:t>
            </a:r>
            <a:endParaRPr lang="en-SG" sz="1800" b="1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8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ync with the VO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SG" sz="1800" b="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s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8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vided from the raw files</a:t>
            </a:r>
            <a:endParaRPr lang="en-US" sz="1800" b="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3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803113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t's explore how Dulux Promise Interior can address the next challenge Farah is facing.</a:t>
            </a:r>
            <a:endParaRPr lang="en-US" b="1" dirty="0"/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SG" sz="1200" b="1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2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ync with the VO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SG" sz="1200" b="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s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2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vided from the raw files</a:t>
            </a:r>
            <a:endParaRPr lang="en-US" sz="1200" b="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3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070790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sz="18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ck on the puzzle icon to hear Farah’s problem.</a:t>
            </a:r>
            <a:endParaRPr lang="en-SG" sz="1200" b="1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2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ync with the VO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s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2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ttps://www.freepik.com/premium-photo/mold-fungus-wall-white-window_35687374.htm#query=dirty%20walls%20of%20a%20house&amp;position=25&amp;from_view=search&amp;track=ais&amp;uuid=b11270e0-1205-4d64-9449-4ea9b698851f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3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465099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ith the hustle and bustle in and around the house, walls can quickly accumulate dirt and lose their luster. However, washable paint often exceeds my budget.</a:t>
            </a:r>
            <a:endParaRPr lang="en-US" b="0" dirty="0"/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2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ync with the VO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s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2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ttps://www.freepik.com/premium-photo/mold-fungus-wall-white-window_35687374.htm#query=dirty%20walls%20of%20a%20house&amp;position=25&amp;from_view=search&amp;track=ais&amp;uuid=b11270e0-1205-4d64-9449-4ea9b698851f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3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00959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27B4EF-BF0F-45A9-70EB-C9AD4C1801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661F44-F1BC-98B2-BA1D-0A39792CF4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17288B-18DB-8CD7-3E96-70118560BF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Transcript: </a:t>
            </a:r>
            <a:endParaRPr lang="en-GB" b="1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>
                <a:latin typeface="Calibri"/>
                <a:ea typeface="Calibri"/>
                <a:cs typeface="Calibri"/>
              </a:rPr>
              <a:t>She</a:t>
            </a: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 feels embarrassed to invite guests to her home.</a:t>
            </a:r>
            <a:r>
              <a:rPr lang="en-US" sz="1800" kern="100" dirty="0">
                <a:latin typeface="Calibri"/>
                <a:ea typeface="Calibri"/>
                <a:cs typeface="Calibri"/>
              </a:rPr>
              <a:t> </a:t>
            </a:r>
            <a:endParaRPr lang="en-GB" b="0" dirty="0"/>
          </a:p>
          <a:p>
            <a:r>
              <a:rPr lang="en-GB" b="1" dirty="0"/>
              <a:t>Developer Notes</a:t>
            </a:r>
            <a:r>
              <a:rPr lang="en-US" b="1" dirty="0">
                <a:cs typeface="Calibri"/>
              </a:rPr>
              <a:t>:</a:t>
            </a:r>
            <a:endParaRPr lang="en-US" b="1" dirty="0">
              <a:ea typeface="Calibri"/>
              <a:cs typeface="Calibri"/>
            </a:endParaRPr>
          </a:p>
          <a:p>
            <a:r>
              <a:rPr lang="en-US" dirty="0"/>
              <a:t>Show </a:t>
            </a:r>
            <a:r>
              <a:rPr lang="en-US" dirty="0" err="1"/>
              <a:t>farah</a:t>
            </a:r>
            <a:r>
              <a:rPr lang="en-US" dirty="0"/>
              <a:t> looking at her home sad, show the cracks and the stains of the room in a 360 degree.</a:t>
            </a:r>
            <a:endParaRPr lang="en-US" dirty="0">
              <a:ea typeface="Calibri"/>
              <a:cs typeface="Calibri"/>
            </a:endParaRPr>
          </a:p>
          <a:p>
            <a:r>
              <a:rPr lang="en-US" b="1" dirty="0"/>
              <a:t>Image links:</a:t>
            </a:r>
            <a:endParaRPr lang="en-US" b="1" dirty="0">
              <a:ea typeface="Calibri" panose="020F0502020204030204"/>
              <a:cs typeface="Calibri" panose="020F0502020204030204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https://www.freepik.com/premium-vector/arabian-casual-woman-character-set_2609364.htm#query=lady%20charecter%20muslim&amp;position=29&amp;from_view=search&amp;track=ais&amp;uuid=c0631cd7-6e82-4e33-94c4-1a1687df892e</a:t>
            </a:r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6501BF-E785-4CA8-B43E-8C98030101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147591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ulux Promise Interior is the perfect choice for Farah’s concern. Let's explore the benefits it offers. 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2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ync with the VO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s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2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ttps://www.freepik.com/premium-photo/mold-fungus-wall-white-window_35687374.htm#query=dirty%20walls%20of%20a%20house&amp;position=25&amp;from_view=search&amp;track=ais&amp;uuid=b11270e0-1205-4d64-9449-4ea9b698851f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4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503053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ffortlessly maintain your walls' cleanliness with the convenience of washable and easy-wipe properties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ts </a:t>
            </a:r>
            <a:r>
              <a:rPr lang="en-GB" sz="18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w Odour/VOC </a:t>
            </a:r>
            <a:r>
              <a:rPr lang="en-GB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ture ensures a pleasant painting experience with no harmful impact to the environment. 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ur products are proudly free of added lead and mercury, prioritizing safety and environmental responsibility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y of our products proudly bear the Singapore Green Label, a testament to our commitment to eco-friendly and sustainable solutions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unt on our paint's anti-bacterial properties for added cleanliness and hygiene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GB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sure superior protection against mould and fungus for long-lasting wall integrity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SG" sz="1200" b="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2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ync with the VO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s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2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ttps://www.freepik.com/premium-photo/mold-fungus-wall-white-window_35687374.htm#query=dirty%20walls%20of%20a%20house&amp;position=25&amp;from_view=search&amp;track=ais&amp;uuid=b11270e0-1205-4d64-9449-4ea9b698851f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4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223503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sides its benefits, the Dulux Promise Interior has unique characteristics that make it stand out. Let's explore these distinctive features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4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717208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ck on each icon to learn more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4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76730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·"/>
            </a:pPr>
            <a:r>
              <a:rPr lang="en-GB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scover the elegance of a matt finish, adding a touch of sophistication to your space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perience extensive coverage with 13-15 square meters per litre, maximising  your paint's value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joy good opacity for enhanced colour vibrancy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hoose from a wide spectrum of colours, with 1 ready-mix option and an impressive selection of 2077 tinting choices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joy easy maintenance with good washability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joy excellent colour protection and good colour fastness, ensuring your chosen hues stay vibrant and true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pect our paint to provide lasting durability, with a lifespan of 3-5 years, ensuring long-term quality and beauty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t is available in various sizes such as 1 Litre, 4 Litres, and 16 Litres. 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4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0586975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s a result, Farah’s issue was effectively resolved by Dulux Promise Interior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b="1" dirty="0"/>
          </a:p>
          <a:p>
            <a:r>
              <a:rPr lang="en-US" b="1" dirty="0">
                <a:ea typeface="Calibri" panose="020F0502020204030204"/>
                <a:cs typeface="Calibri" panose="020F0502020204030204"/>
              </a:rPr>
              <a:t>Developer notes:</a:t>
            </a:r>
          </a:p>
          <a:p>
            <a:r>
              <a:rPr lang="en-US" dirty="0">
                <a:ea typeface="Calibri" panose="020F0502020204030204"/>
                <a:cs typeface="Calibri" panose="020F0502020204030204"/>
              </a:rPr>
              <a:t>Show Farah looking satisfied looking at her walls. Show the walls well painted now.</a:t>
            </a:r>
          </a:p>
          <a:p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4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919250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800" kern="100" dirty="0" err="1">
                <a:effectLst/>
                <a:latin typeface="Calibri"/>
                <a:ea typeface="Calibri"/>
                <a:cs typeface="Calibri"/>
              </a:rPr>
              <a:t>Paintex</a:t>
            </a:r>
            <a:r>
              <a:rPr lang="en-GB" sz="1800" kern="100" dirty="0">
                <a:effectLst/>
                <a:latin typeface="Calibri"/>
                <a:ea typeface="Calibri"/>
                <a:cs typeface="Calibri"/>
              </a:rPr>
              <a:t> Star is an affordable paint that simply covers the </a:t>
            </a:r>
            <a:r>
              <a:rPr lang="en-GB" sz="1800" b="1" kern="100" dirty="0">
                <a:effectLst/>
                <a:latin typeface="Calibri"/>
                <a:ea typeface="Calibri"/>
                <a:cs typeface="Calibri"/>
              </a:rPr>
              <a:t>wall and ceiling</a:t>
            </a:r>
            <a:r>
              <a:rPr lang="en-GB" sz="1800" kern="100" dirty="0">
                <a:effectLst/>
                <a:latin typeface="Calibri"/>
                <a:ea typeface="Calibri"/>
                <a:cs typeface="Calibri"/>
              </a:rPr>
              <a:t>. </a:t>
            </a:r>
            <a:r>
              <a:rPr lang="en-GB" sz="1800" kern="100" dirty="0">
                <a:latin typeface="Calibri"/>
                <a:ea typeface="Calibri"/>
                <a:cs typeface="Calibri"/>
              </a:rPr>
              <a:t>The</a:t>
            </a:r>
            <a:r>
              <a:rPr lang="en-GB" sz="1800" kern="100" dirty="0">
                <a:effectLst/>
                <a:latin typeface="Calibri"/>
                <a:ea typeface="Calibri"/>
                <a:cs typeface="Calibri"/>
              </a:rPr>
              <a:t> paint comes with </a:t>
            </a:r>
            <a:r>
              <a:rPr lang="en-GB" sz="1800" b="1" kern="100" dirty="0">
                <a:effectLst/>
                <a:latin typeface="Calibri"/>
                <a:ea typeface="Calibri"/>
                <a:cs typeface="Calibri"/>
              </a:rPr>
              <a:t>good hiding and spreading </a:t>
            </a:r>
            <a:r>
              <a:rPr lang="en-GB" sz="1800" kern="100" dirty="0">
                <a:effectLst/>
                <a:latin typeface="Calibri"/>
                <a:ea typeface="Calibri"/>
                <a:cs typeface="Calibri"/>
              </a:rPr>
              <a:t>properties.  </a:t>
            </a:r>
            <a:endParaRPr lang="en-US" sz="1800" kern="100" dirty="0">
              <a:effectLst/>
              <a:latin typeface="Calibri"/>
              <a:ea typeface="Calibri"/>
              <a:cs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GB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8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ync with the VO.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8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ttps://www.dulux.com.pk/en/colour-inspiration/work-sophisticated-take-powder-pink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8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ttps://www.dulux.com.pk/en/products/paintex-star-semi-plastic-emulsion?size=3.64L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GB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GB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4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890376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cript: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t's explore how </a:t>
            </a:r>
            <a:r>
              <a:rPr lang="en-US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intex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tar can address the next challenge Farah is facing.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sz="18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ck on the puzzle icon to hear Farah’s problem.</a:t>
            </a:r>
            <a:endParaRPr lang="en-GB" sz="12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1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oper</a:t>
            </a:r>
            <a:r>
              <a:rPr lang="en-GB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otes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GB" sz="1200" b="1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: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ttps://www.dulux.com.pk/en/colour-inspiration/work-sophisticated-take-powder-pink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GB" sz="1200" b="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4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20492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y wall appears to be in poor condition, with dirt and peeling paint, leaving white marks on my shirt. 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w that Farah is gazing at her wall and looking sad. Then show the speech bubble.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:</a:t>
            </a:r>
          </a:p>
          <a:p>
            <a:r>
              <a:rPr lang="en-US" dirty="0"/>
              <a:t>https://www.freepik.com/premium-photo/flooding-rainwater-floor-heating-systems-causing-damage-peeling-paint-mildew-image_12539904.htm#query=dirty%20walls%20of%20a%20house&amp;position=19&amp;from_view=search&amp;track=ais&amp;uuid=616b706e-334f-4f1f-817f-bc52579deb9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4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7745722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hile I had postponed repainting due to budget constraints and other priorities, I can't delay it any further; it's time to refresh my walls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speech bubble will continue here.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https://www.freepik.com/premium-photo/flooding-rainwater-floor-heating-systems-causing-damage-peeling-paint-mildew-image_12539904.htm#query=dirty%20walls%20of%20a%20house&amp;position=19&amp;from_view=search&amp;track=ais&amp;uuid=616b706e-334f-4f1f-817f-bc52579deb9b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4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62880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/>
              <a:t>Transcript: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rah seeks not only a visual appeal but also comfort and pride in her space.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i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ick on Farah’s image to know more.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GB" b="0"/>
          </a:p>
          <a:p>
            <a:r>
              <a:rPr lang="en-GB" b="1"/>
              <a:t>Developer Notes</a:t>
            </a:r>
            <a:r>
              <a:rPr lang="en-US" b="1">
                <a:cs typeface="Calibri"/>
              </a:rPr>
              <a:t>:</a:t>
            </a:r>
          </a:p>
          <a:p>
            <a:endParaRPr lang="en-US"/>
          </a:p>
          <a:p>
            <a:r>
              <a:rPr lang="en-US" b="1"/>
              <a:t>Image links:</a:t>
            </a:r>
            <a:endParaRPr lang="en-US" b="1">
              <a:ea typeface="Calibri" panose="020F0502020204030204"/>
              <a:cs typeface="Calibri" panose="020F0502020204030204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/>
              <a:t>https://www.freepik.com/premium-vector/arabian-casual-woman-character-set_2609364.htm#query=lady%20charecter%20muslim&amp;position=29&amp;from_view=search&amp;track=ais&amp;uuid=c0631cd7-6e82-4e33-94c4-1a1687df892e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https://www.dulux.in/en/colour-inspiration/channel-global-chic-warm-earthy-shades</a:t>
            </a:r>
            <a:endParaRPr lang="en-US"/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7662166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0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intex</a:t>
            </a:r>
            <a:r>
              <a:rPr lang="en-GB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tar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s the perfect choice for Farah’s concern. Let's explore the benefits it offers. 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2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0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0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re the mascot will appear with the speech bubble in sync with the VO.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0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ttps://www.dulux.com.pk/en/colour-inspiration/work-sophisticated-take-powder-pink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5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735191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0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cript: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intex</a:t>
            </a:r>
            <a:r>
              <a:rPr lang="en-GB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rovides a cost-effective solution to meet your expectations of the wall. 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is paint ensures that the wall remains resistant to chalking to maintain the durability. 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GB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t is very simple and convenient way to paint, which saves a lot of time and efforts.   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2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0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0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re the pop-up texts will appear around the paint in sync with VO.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0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ttps://www.dulux.com.pk/en/colour-inspiration/work-sophisticated-take-powder-pink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5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5268157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0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sides its benefits, the </a:t>
            </a:r>
            <a:r>
              <a:rPr lang="en-GB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intex</a:t>
            </a:r>
            <a:r>
              <a:rPr lang="en-GB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tar 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s unique characteristics that make it stand out. Let's explore its distinctive features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0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re the mascot will appear with the speech bubble. Sync with the VO. </a:t>
            </a:r>
            <a:endParaRPr lang="en-GB" sz="1000" b="1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0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: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5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9543993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0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ck on each icon to learn more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GB" sz="1000" b="1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0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0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ick and reveal functionality will be there .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0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: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5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6291843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0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cript: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perience the sophistication of a matt finish, elevating the elegance of your surroundings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perience extensive coverage with 12-14 square meters per litre, maximising your paint's value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Enjoy</a:t>
            </a:r>
            <a:r>
              <a:rPr lang="en-US" sz="1800" kern="100" dirty="0">
                <a:latin typeface="Calibri"/>
                <a:ea typeface="Calibri"/>
                <a:cs typeface="Calibri"/>
              </a:rPr>
              <a:t> basic</a:t>
            </a: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 opacity for enhanced </a:t>
            </a:r>
            <a:r>
              <a:rPr lang="en-US" sz="1800" kern="100" dirty="0" err="1">
                <a:effectLst/>
                <a:latin typeface="Calibri"/>
                <a:ea typeface="Calibri"/>
                <a:cs typeface="Calibri"/>
              </a:rPr>
              <a:t>colour</a:t>
            </a: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 vibrancy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lect from a versatile palette with 15 ready mixed colour options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en-US" sz="1800" kern="100" dirty="0">
                <a:latin typeface="Calibri"/>
                <a:ea typeface="Calibri"/>
                <a:cs typeface="Calibri"/>
              </a:rPr>
              <a:t>Offers basic</a:t>
            </a: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 </a:t>
            </a:r>
            <a:r>
              <a:rPr lang="en-US" sz="1800" kern="100" dirty="0" err="1">
                <a:effectLst/>
                <a:latin typeface="Calibri"/>
                <a:ea typeface="Calibri"/>
                <a:cs typeface="Calibri"/>
              </a:rPr>
              <a:t>colour</a:t>
            </a: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 protection </a:t>
            </a:r>
            <a:r>
              <a:rPr lang="en-US" sz="1800" kern="100" dirty="0">
                <a:latin typeface="Calibri"/>
                <a:ea typeface="Calibri"/>
                <a:cs typeface="Calibri"/>
              </a:rPr>
              <a:t>for your walls. </a:t>
            </a:r>
            <a:endParaRPr lang="en-US" sz="1800" kern="100" dirty="0">
              <a:effectLst/>
              <a:latin typeface="Calibri"/>
              <a:ea typeface="Calibri"/>
              <a:cs typeface="Calibri"/>
            </a:endParaRPr>
          </a:p>
          <a:p>
            <a:pPr marL="34290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en-US" sz="1800" kern="100" dirty="0">
                <a:latin typeface="Calibri"/>
                <a:ea typeface="Calibri"/>
                <a:cs typeface="Calibri"/>
              </a:rPr>
              <a:t>Provides</a:t>
            </a: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 lasting durability, with a lifespan of 1-2 years, ensuring long-term quality and beauty.</a:t>
            </a:r>
            <a:r>
              <a:rPr lang="en-GB" sz="1800" kern="100" dirty="0">
                <a:effectLst/>
                <a:latin typeface="Calibri"/>
                <a:ea typeface="Calibri"/>
                <a:cs typeface="Calibri"/>
              </a:rPr>
              <a:t>  </a:t>
            </a:r>
            <a:endParaRPr lang="en-US" sz="1800" kern="100" dirty="0">
              <a:effectLst/>
              <a:latin typeface="Calibri"/>
              <a:ea typeface="Calibri"/>
              <a:cs typeface="Calibri"/>
            </a:endParaRPr>
          </a:p>
          <a:p>
            <a:pPr marL="34290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en-US" sz="1800" kern="100" dirty="0">
                <a:latin typeface="Calibri"/>
                <a:ea typeface="Calibri"/>
                <a:cs typeface="Calibri"/>
              </a:rPr>
              <a:t>Available </a:t>
            </a: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in two different sizes such as 3.6 </a:t>
            </a:r>
            <a:r>
              <a:rPr lang="en-US" sz="1800" kern="100" dirty="0">
                <a:latin typeface="Calibri"/>
                <a:ea typeface="Calibri"/>
                <a:cs typeface="Calibri"/>
              </a:rPr>
              <a:t>L</a:t>
            </a: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 and 14.56 </a:t>
            </a:r>
            <a:r>
              <a:rPr lang="en-US" sz="1800" kern="100" dirty="0">
                <a:latin typeface="Calibri"/>
                <a:ea typeface="Calibri"/>
                <a:cs typeface="Calibri"/>
              </a:rPr>
              <a:t>L</a:t>
            </a: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.</a:t>
            </a:r>
            <a:r>
              <a:rPr lang="en-US" sz="1800" kern="100" dirty="0">
                <a:latin typeface="Calibri"/>
                <a:ea typeface="Calibri"/>
                <a:cs typeface="Calibri"/>
              </a:rPr>
              <a:t> 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0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GB" sz="1000" b="1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0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: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5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6559796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 a result, Farah’s issue was effectively resolved by </a:t>
            </a:r>
            <a:r>
              <a:rPr lang="en-GB" sz="12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intex</a:t>
            </a:r>
            <a:r>
              <a:rPr lang="en-GB" sz="12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tar, guaranteeing walls that are free from stains and radiate beauty.</a:t>
            </a:r>
            <a:endParaRPr lang="en-US" sz="12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ea typeface="Calibri" panose="020F0502020204030204"/>
                <a:cs typeface="Calibri" panose="020F0502020204030204"/>
              </a:rPr>
              <a:t>Show Farah looking satisfied looking at her walls. Show the walls well painted now.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GB" sz="800" b="1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: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5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06443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r>
              <a:rPr lang="en-SG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intex</a:t>
            </a:r>
            <a:r>
              <a:rPr lang="en-SG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SG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ltratex</a:t>
            </a:r>
            <a:r>
              <a:rPr lang="en-SG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s a very affordable paint that simply covers the wall and ceiling. </a:t>
            </a:r>
          </a:p>
          <a:p>
            <a:endParaRPr lang="en-SG" sz="1800" b="0" dirty="0">
              <a:effectLst/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how OST in sync with the VO.</a:t>
            </a:r>
            <a:endParaRPr lang="en-US" dirty="0">
              <a:ea typeface="Calibri"/>
              <a:cs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GB" sz="1200" b="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:</a:t>
            </a:r>
          </a:p>
          <a:p>
            <a:r>
              <a:rPr lang="en-US" b="0" dirty="0"/>
              <a:t>Taken from the raw fil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5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2140662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t's explore how </a:t>
            </a:r>
            <a:r>
              <a:rPr lang="en-US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intex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ltratex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an address the next challenge Farah is facing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ck on the puzzle icon to hear Farah’s problem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how OST in sync with the VO.</a:t>
            </a:r>
            <a:endParaRPr lang="en-US" dirty="0">
              <a:ea typeface="Calibri"/>
              <a:cs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GB" sz="1200" b="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:</a:t>
            </a:r>
          </a:p>
          <a:p>
            <a:r>
              <a:rPr lang="en-US" b="0" dirty="0"/>
              <a:t>https://www.freepik.com/free-photo/beautiful-view-interior-old-abandoned-building_13292407.htm#query=dirty%20ceiling%20of%20a%20house&amp;position=24&amp;from_view=search&amp;track=ais&amp;uuid=abc8d6ea-1088-4cb1-98d9-0723b38e705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5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9550918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SG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y wall looks shabby. It is very dirty, peeling off here and there. 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b="0" dirty="0"/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how OST in sync with the VO.</a:t>
            </a:r>
            <a:endParaRPr lang="en-US" dirty="0">
              <a:ea typeface="Calibri"/>
              <a:cs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GB" sz="1200" b="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:</a:t>
            </a:r>
          </a:p>
          <a:p>
            <a:r>
              <a:rPr lang="en-US" b="0" dirty="0"/>
              <a:t>https://www.freepik.com/free-photo/beautiful-view-interior-old-abandoned-building_13292407.htm#query=dirty%20ceiling%20of%20a%20house&amp;position=24&amp;from_view=search&amp;track=ais&amp;uuid=abc8d6ea-1088-4cb1-98d9-0723b38e705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5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7820851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SG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 was supposed to repaint it months ago, but my money is very limited and home decoration is not on my priority list. I was extremely economical paint for my home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b="0" dirty="0"/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how OST in sync with the VO.</a:t>
            </a:r>
            <a:endParaRPr lang="en-US" dirty="0">
              <a:ea typeface="Calibri"/>
              <a:cs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GB" sz="1200" b="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:</a:t>
            </a:r>
          </a:p>
          <a:p>
            <a:r>
              <a:rPr lang="en-US" b="0" dirty="0"/>
              <a:t>https://www.freepik.com/free-photo/beautiful-view-interior-old-abandoned-building_13292407.htm#query=dirty%20ceiling%20of%20a%20house&amp;position=24&amp;from_view=search&amp;track=ais&amp;uuid=abc8d6ea-1088-4cb1-98d9-0723b38e705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5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83958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GB" sz="1800" b="1"/>
              <a:t>Transcript: </a:t>
            </a:r>
            <a:endParaRPr lang="en-IN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kern="100">
                <a:effectLst/>
                <a:latin typeface="Calibri"/>
                <a:ea typeface="Calibri"/>
                <a:cs typeface="Calibri"/>
              </a:rPr>
              <a:t>My house is plagued by a multitude of interior wall problems. The once-charming walls now appear dull and worn out. What should I do?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IN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b="1"/>
              <a:t>Developer Notes</a:t>
            </a:r>
            <a:endParaRPr lang="en-US" b="1">
              <a:ea typeface="Calibri"/>
              <a:cs typeface="Calibri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/>
              <a:t>Show Farah is thinking.</a:t>
            </a:r>
          </a:p>
          <a:p>
            <a:endParaRPr lang="en-US"/>
          </a:p>
          <a:p>
            <a:r>
              <a:rPr lang="en-US"/>
              <a:t>Image links:</a:t>
            </a:r>
            <a:endParaRPr lang="en-US">
              <a:ea typeface="Calibri" panose="020F0502020204030204"/>
              <a:cs typeface="Calibri" panose="020F050202020403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/>
              <a:t>https://www.freepik.com/free-photo/clean-windows-empty-white-house-blank_3012151.ht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https://www.freepik.com/premium-vector/arabian-casual-woman-character-set_2609364.htm#query=lady%20charecter%20muslim&amp;position=29&amp;from_view=search&amp;track=ais&amp;uuid=c0631cd7-6e82-4e33-94c4-1a1687df892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5426148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SG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intex</a:t>
            </a:r>
            <a:r>
              <a:rPr lang="en-SG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SG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ltratex</a:t>
            </a:r>
            <a:r>
              <a:rPr lang="en-SG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s the perfect choice for Farah’s concern. Let's explore the benefits it offers. 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b="0" dirty="0"/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0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how OST in sync with the VO.</a:t>
            </a:r>
            <a:endParaRPr lang="en-US" dirty="0">
              <a:ea typeface="Calibri"/>
              <a:cs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GB" sz="1000" b="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0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:</a:t>
            </a:r>
          </a:p>
          <a:p>
            <a:r>
              <a:rPr lang="en-US" b="0" dirty="0"/>
              <a:t>https://www.dulux.com.pk/en/colour-inspiration/trendiest-paint-colours-for-home-deco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6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3710600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intex</a:t>
            </a:r>
            <a:r>
              <a:rPr lang="en-GB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ffers a budget friendly solution to meet the expectations of the wall. 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is paint guarantees resistance to chalking and ensures durability. 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GB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vides simple and convenient painting solution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b="0" dirty="0"/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0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how OST in sync with the VO.</a:t>
            </a:r>
            <a:endParaRPr lang="en-US" dirty="0">
              <a:ea typeface="Calibri"/>
              <a:cs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GB" sz="1000" b="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0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: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6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277401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sides its benefits, the </a:t>
            </a:r>
            <a:r>
              <a:rPr lang="en-SG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intex</a:t>
            </a:r>
            <a:r>
              <a:rPr lang="en-SG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SG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ltratex</a:t>
            </a:r>
            <a:r>
              <a:rPr lang="en-SG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s unique characteristics that make it stand out. Let's explore these distinctive features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b="0" dirty="0"/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how OST in sync with the VO.</a:t>
            </a:r>
            <a:endParaRPr lang="en-US" dirty="0">
              <a:ea typeface="Calibri"/>
              <a:cs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GB" sz="800" b="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:</a:t>
            </a:r>
          </a:p>
          <a:p>
            <a:r>
              <a:rPr lang="en-US" b="0" dirty="0"/>
              <a:t>Taken from the raw file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6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4005603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ck on each icon to learn more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2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ick and reveal functionality will be there .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:</a:t>
            </a:r>
          </a:p>
          <a:p>
            <a:r>
              <a:rPr lang="en-US" b="0" dirty="0"/>
              <a:t>Taken from the raw file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6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1134336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perience the sophistication of a matt finish, elevating the elegance of your surroundings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en-US" sz="1800" kern="100" dirty="0">
                <a:latin typeface="Calibri"/>
                <a:ea typeface="Calibri"/>
                <a:cs typeface="Calibri"/>
              </a:rPr>
              <a:t>Offers extensive</a:t>
            </a: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 coverage with 10-12 square meters per </a:t>
            </a:r>
            <a:r>
              <a:rPr lang="en-US" sz="1800" kern="100" dirty="0" err="1">
                <a:effectLst/>
                <a:latin typeface="Calibri"/>
                <a:ea typeface="Calibri"/>
                <a:cs typeface="Calibri"/>
              </a:rPr>
              <a:t>litre</a:t>
            </a: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, </a:t>
            </a:r>
            <a:r>
              <a:rPr lang="en-US" sz="1800" kern="100" dirty="0" err="1">
                <a:effectLst/>
                <a:latin typeface="Calibri"/>
                <a:ea typeface="Calibri"/>
                <a:cs typeface="Calibri"/>
              </a:rPr>
              <a:t>maximising</a:t>
            </a: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 your paint's value.</a:t>
            </a:r>
          </a:p>
          <a:p>
            <a:pPr marL="34290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en-US" sz="1800" kern="100" dirty="0">
                <a:latin typeface="Calibri"/>
                <a:ea typeface="Calibri"/>
                <a:cs typeface="Calibri"/>
              </a:rPr>
              <a:t>Provides basic </a:t>
            </a: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opacity for enhanced </a:t>
            </a:r>
            <a:r>
              <a:rPr lang="en-US" sz="1800" kern="100" dirty="0" err="1">
                <a:effectLst/>
                <a:latin typeface="Calibri"/>
                <a:ea typeface="Calibri"/>
                <a:cs typeface="Calibri"/>
              </a:rPr>
              <a:t>colour</a:t>
            </a: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 vibrancy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lect from a versatile palette with 3 ready-mix colour options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en-US" sz="1800" kern="100" dirty="0">
                <a:latin typeface="Calibri"/>
                <a:ea typeface="Calibri"/>
                <a:cs typeface="Calibri"/>
              </a:rPr>
              <a:t>Provides basic</a:t>
            </a: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 </a:t>
            </a:r>
            <a:r>
              <a:rPr lang="en-US" sz="1800" kern="100" dirty="0" err="1">
                <a:effectLst/>
                <a:latin typeface="Calibri"/>
                <a:ea typeface="Calibri"/>
                <a:cs typeface="Calibri"/>
              </a:rPr>
              <a:t>colour</a:t>
            </a: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 protection</a:t>
            </a:r>
            <a:r>
              <a:rPr lang="en-US" sz="1800" kern="100" dirty="0">
                <a:latin typeface="Calibri"/>
                <a:ea typeface="Calibri"/>
                <a:cs typeface="Calibri"/>
              </a:rPr>
              <a:t> and </a:t>
            </a:r>
            <a:r>
              <a:rPr lang="en-US" sz="1800" kern="100" dirty="0" err="1">
                <a:effectLst/>
                <a:latin typeface="Calibri"/>
                <a:ea typeface="Calibri"/>
                <a:cs typeface="Calibri"/>
              </a:rPr>
              <a:t>colour</a:t>
            </a: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 fastness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pect our paint to provide lasting durability, with a lifespan of 1-2 years, ensuring long-term quality and beauty</a:t>
            </a:r>
            <a:r>
              <a:rPr lang="en-GB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 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en-US" sz="1800" kern="100" dirty="0">
                <a:latin typeface="Calibri"/>
                <a:ea typeface="Calibri"/>
                <a:cs typeface="Calibri"/>
              </a:rPr>
              <a:t>Available in </a:t>
            </a: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various sizes such as 6 Kg and 24 Kg</a:t>
            </a:r>
            <a:r>
              <a:rPr lang="en-US" sz="1800" kern="100" dirty="0">
                <a:latin typeface="Calibri"/>
                <a:ea typeface="Calibri"/>
                <a:cs typeface="Calibri"/>
              </a:rPr>
              <a:t> to suit your need</a:t>
            </a:r>
            <a:r>
              <a:rPr lang="en-US" sz="1800" kern="100" dirty="0">
                <a:effectLst/>
                <a:latin typeface="Calibri"/>
                <a:ea typeface="Calibri"/>
                <a:cs typeface="Calibri"/>
              </a:rPr>
              <a:t>.</a:t>
            </a:r>
            <a:r>
              <a:rPr lang="en-US" sz="1800" kern="100" dirty="0">
                <a:latin typeface="Calibri"/>
                <a:ea typeface="Calibri"/>
                <a:cs typeface="Calibri"/>
              </a:rPr>
              <a:t> 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r>
              <a:rPr lang="en-GB" sz="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how OST in sync with the VO.</a:t>
            </a:r>
            <a:endParaRPr lang="en-US" dirty="0">
              <a:ea typeface="Calibri"/>
              <a:cs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GB" sz="800" b="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:</a:t>
            </a:r>
          </a:p>
          <a:p>
            <a:r>
              <a:rPr lang="en-US" b="0" dirty="0"/>
              <a:t>Taken from the raw file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6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3064102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 a result, Farah’s issue was effectively resolved by </a:t>
            </a:r>
            <a:r>
              <a:rPr lang="en-SG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intex</a:t>
            </a:r>
            <a:r>
              <a:rPr lang="en-SG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SG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ltratex</a:t>
            </a:r>
            <a:r>
              <a:rPr lang="en-GB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guaranteeing walls that are free from stains and radiate beauty.</a:t>
            </a:r>
            <a:endParaRPr lang="en-US" b="0" dirty="0"/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ea typeface="Calibri" panose="020F0502020204030204"/>
                <a:cs typeface="Calibri" panose="020F0502020204030204"/>
              </a:rPr>
              <a:t>Show Farah looking satisfied looking at her walls. Show the walls well painted now.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:</a:t>
            </a:r>
          </a:p>
          <a:p>
            <a:r>
              <a:rPr lang="en-US" b="0" dirty="0"/>
              <a:t>Taken from the raw file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6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8981399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ranscript:</a:t>
            </a:r>
          </a:p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Farah successfully resolved all her house issues with the assistance of Dulux Interior Wall Paints, restoring the beauty of her walls once more. </a:t>
            </a:r>
            <a:endParaRPr lang="en-US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b="0" dirty="0"/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r Notes: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Show </a:t>
            </a:r>
            <a:r>
              <a:rPr lang="en-US" dirty="0" err="1"/>
              <a:t>farah</a:t>
            </a:r>
            <a:r>
              <a:rPr lang="en-US" dirty="0"/>
              <a:t> looking happy. All her walls look beautiful now.</a:t>
            </a:r>
            <a:endParaRPr lang="en-US" dirty="0">
              <a:ea typeface="Calibri"/>
              <a:cs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GB" sz="800" b="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Link:</a:t>
            </a:r>
          </a:p>
          <a:p>
            <a:r>
              <a:rPr lang="en-US" b="0" dirty="0"/>
              <a:t>Taken from the raw file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6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70277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GB" sz="1800" b="1"/>
              <a:t>Transcript: 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re's where Dulux Interior Wall Paints comes to the rescue, offering Farah a range of solutions to her problems.</a:t>
            </a:r>
            <a:endParaRPr lang="en-IN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GB"/>
          </a:p>
          <a:p>
            <a:r>
              <a:rPr lang="en-GB" b="1"/>
              <a:t>Developer Notes: </a:t>
            </a:r>
            <a:endParaRPr lang="en-US" b="1">
              <a:ea typeface="Calibri"/>
              <a:cs typeface="Calibri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/>
              <a:t>Show the representative</a:t>
            </a:r>
            <a:endParaRPr lang="en-US">
              <a:ea typeface="Calibri"/>
              <a:cs typeface="Calibri"/>
            </a:endParaRPr>
          </a:p>
          <a:p>
            <a:pPr marL="228600" indent="-228600">
              <a:buAutoNum type="arabicPeriod"/>
            </a:pPr>
            <a:r>
              <a:rPr lang="en-US">
                <a:ea typeface="Calibri"/>
                <a:cs typeface="Calibri"/>
              </a:rPr>
              <a:t>Show images of all four products</a:t>
            </a:r>
          </a:p>
          <a:p>
            <a:pPr marL="0" indent="0">
              <a:buNone/>
            </a:pPr>
            <a:endParaRPr lang="en-US">
              <a:cs typeface="Calibri"/>
            </a:endParaRPr>
          </a:p>
          <a:p>
            <a:pPr marL="0" indent="0">
              <a:buNone/>
            </a:pPr>
            <a:r>
              <a:rPr lang="en-US" b="1">
                <a:cs typeface="Calibri"/>
              </a:rPr>
              <a:t>Image Links:</a:t>
            </a:r>
          </a:p>
          <a:p>
            <a:pPr marL="0" indent="0">
              <a:buNone/>
            </a:pPr>
            <a:r>
              <a:rPr lang="en-US"/>
              <a:t>https://images.akzonobel.com/akzonobel-flourish/nordsjo/sv/dulux-colour-of-the-year-2023/landing/palette/lush/Dulux-Colour-Futures-Colour-of-the-Year-2023-Lush-Colours-LivingRoom-Inspiration-Global-21.jpg?impolicy=.auto&amp;imwidth=600</a:t>
            </a:r>
          </a:p>
          <a:p>
            <a:pPr marL="0" indent="0">
              <a:buNone/>
            </a:pPr>
            <a:r>
              <a:rPr lang="en-US">
                <a:ea typeface="Calibri"/>
                <a:cs typeface="Calibri"/>
              </a:rPr>
              <a:t>https://www.freepik.com/premium-vector/muslim-arabic-woman-character-creation-pack-with-woman-wearing-black-robe-red-hijab-arabic-woman-mouth-animation-body-parts-hand-gestures-office-items_39402565.htm#query=muslim%20charecter%20set&amp;position=15&amp;from_view=search&amp;track=ais&amp;uuid=d36b0378-2fa4-49c4-b0e1-24c379c9a2a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83748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GB" sz="1800" b="1"/>
              <a:t>Transcript: 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t's help Farah select the right kind of paint to help transform her home.</a:t>
            </a:r>
            <a:endParaRPr lang="en-IN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i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ick on each type to learn more.</a:t>
            </a:r>
            <a:endParaRPr lang="en-GB" b="1"/>
          </a:p>
          <a:p>
            <a:r>
              <a:rPr lang="en-GB" b="1"/>
              <a:t>Developer Notes:</a:t>
            </a:r>
            <a:endParaRPr lang="en-US" b="1">
              <a:ea typeface="Calibri"/>
              <a:cs typeface="Calibri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/>
              <a:t>Show the representative</a:t>
            </a:r>
            <a:endParaRPr lang="en-US">
              <a:ea typeface="Calibri"/>
              <a:cs typeface="Calibri"/>
            </a:endParaRPr>
          </a:p>
          <a:p>
            <a:pPr marL="228600" indent="-228600">
              <a:buAutoNum type="arabicPeriod"/>
            </a:pPr>
            <a:r>
              <a:rPr lang="en-US">
                <a:ea typeface="Calibri"/>
                <a:cs typeface="Calibri"/>
              </a:rPr>
              <a:t>Show images of all six products</a:t>
            </a:r>
          </a:p>
          <a:p>
            <a:pPr marL="0" indent="0">
              <a:buNone/>
            </a:pPr>
            <a:r>
              <a:rPr lang="en-US" b="1">
                <a:cs typeface="Calibri"/>
              </a:rPr>
              <a:t>Image Links:</a:t>
            </a:r>
          </a:p>
          <a:p>
            <a:pPr marL="0" indent="0">
              <a:buNone/>
            </a:pPr>
            <a:r>
              <a:rPr lang="en-US"/>
              <a:t>https://images.akzonobel.com/akzonobel-flourish/nordsjo/sv/dulux-colour-of-the-year-2023/landing/palette/lush/Dulux-Colour-Futures-Colour-of-the-Year-2023-Lush-Colours-LivingRoom-Inspiration-Global-21.jpg?impolicy=.auto&amp;imwidth=600</a:t>
            </a:r>
          </a:p>
          <a:p>
            <a:pPr marL="0" indent="0">
              <a:buNone/>
            </a:pPr>
            <a:r>
              <a:rPr lang="en-US">
                <a:ea typeface="Calibri"/>
                <a:cs typeface="Calibri"/>
              </a:rPr>
              <a:t>https://www.freepik.com/premium-vector/muslim-arabic-woman-character-creation-pack-with-woman-wearing-black-robe-red-hijab-arabic-woman-mouth-animation-body-parts-hand-gestures-office-items_39402565.htm#query=muslim%20charecter%20set&amp;position=15&amp;from_view=search&amp;track=ais&amp;uuid=d36b0378-2fa4-49c4-b0e1-24c379c9a2a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22780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b="1" kern="100" dirty="0">
                <a:effectLst/>
                <a:latin typeface="Calibri"/>
                <a:ea typeface="Calibri"/>
                <a:cs typeface="Calibri"/>
              </a:rPr>
              <a:t>Transcript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kern="100" dirty="0">
                <a:effectLst/>
              </a:rPr>
              <a:t>Dulux Ambiance </a:t>
            </a:r>
            <a:r>
              <a:rPr lang="en-US" kern="100" dirty="0"/>
              <a:t>introduces an exceptional painting experience</a:t>
            </a:r>
            <a:r>
              <a:rPr lang="en-US" kern="100" dirty="0">
                <a:effectLst/>
              </a:rPr>
              <a:t>, </a:t>
            </a:r>
            <a:r>
              <a:rPr lang="en-US" kern="100" dirty="0"/>
              <a:t>featuring cutting-edge HD Colour and Colour Guard technologies.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kern="100" dirty="0"/>
              <a:t>Our unique offering is crafted by renowned global colour experts </a:t>
            </a:r>
            <a:r>
              <a:rPr lang="en-US" kern="100" dirty="0">
                <a:effectLst/>
              </a:rPr>
              <a:t>and </a:t>
            </a:r>
            <a:r>
              <a:rPr lang="en-US" kern="100" dirty="0"/>
              <a:t>designers</a:t>
            </a:r>
            <a:r>
              <a:rPr lang="en-US" kern="100" dirty="0">
                <a:effectLst/>
              </a:rPr>
              <a:t>, </a:t>
            </a:r>
            <a:r>
              <a:rPr lang="en-US" kern="100" dirty="0"/>
              <a:t>ensuring </a:t>
            </a:r>
            <a:r>
              <a:rPr lang="en-US" kern="100" dirty="0">
                <a:effectLst/>
              </a:rPr>
              <a:t>a </a:t>
            </a:r>
            <a:r>
              <a:rPr lang="en-US" kern="100" dirty="0"/>
              <a:t>harmonious blend </a:t>
            </a:r>
            <a:r>
              <a:rPr lang="en-US" kern="100" dirty="0">
                <a:effectLst/>
              </a:rPr>
              <a:t>of </a:t>
            </a:r>
            <a:r>
              <a:rPr lang="en-US" kern="100" dirty="0"/>
              <a:t>innovation and aesthetic expertise</a:t>
            </a:r>
            <a:r>
              <a:rPr lang="en-US" kern="100" dirty="0">
                <a:effectLst/>
              </a:rPr>
              <a:t>.</a:t>
            </a:r>
            <a:r>
              <a:rPr lang="en-US" kern="100" dirty="0"/>
              <a:t> </a:t>
            </a:r>
            <a:endParaRPr lang="en-US" kern="100" dirty="0">
              <a:ea typeface="Calibri"/>
              <a:cs typeface="Calibri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US" kern="100" dirty="0">
              <a:ea typeface="Calibri"/>
              <a:cs typeface="Calibri"/>
            </a:endParaRPr>
          </a:p>
          <a:p>
            <a:r>
              <a:rPr lang="en-GB" b="1" dirty="0"/>
              <a:t>Developer Notes</a:t>
            </a:r>
            <a:endParaRPr lang="en-US" b="1" dirty="0">
              <a:ea typeface="Calibri"/>
              <a:cs typeface="Calibri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Show OST in sync with the VO.</a:t>
            </a:r>
            <a:endParaRPr lang="en-US" dirty="0">
              <a:ea typeface="Calibri"/>
              <a:cs typeface="Calibri"/>
            </a:endParaRPr>
          </a:p>
          <a:p>
            <a:pPr marL="0" indent="0">
              <a:buNone/>
            </a:pPr>
            <a:r>
              <a:rPr lang="en-US" b="1" dirty="0"/>
              <a:t>Image Links:</a:t>
            </a:r>
            <a:endParaRPr lang="en-US" b="1" dirty="0">
              <a:ea typeface="Calibri"/>
              <a:cs typeface="Calibri"/>
            </a:endParaRPr>
          </a:p>
          <a:p>
            <a:pPr marL="0" indent="0">
              <a:buNone/>
            </a:pPr>
            <a:r>
              <a:rPr lang="en-US" dirty="0"/>
              <a:t>https://www.freepik.com/free-photo/studio-background-concept-abstract-empty-light-gradient-purple-studio-room-background-product_15826661.htm#query=purple&amp;position=18&amp;from_view=search&amp;track=sph&amp;uuid=4bc23b31-aa16-4bb3-8bc4-5da2f35be7b4</a:t>
            </a:r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7ED427-83B0-4210-9E7F-EDD2FDBFC6DC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44165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oleObject" Target="../embeddings/oleObject6.bin"/><Relationship Id="rId7" Type="http://schemas.openxmlformats.org/officeDocument/2006/relationships/image" Target="../media/image10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9.gif"/><Relationship Id="rId5" Type="http://schemas.openxmlformats.org/officeDocument/2006/relationships/image" Target="../media/image8.gif"/><Relationship Id="rId4" Type="http://schemas.openxmlformats.org/officeDocument/2006/relationships/image" Target="../media/image1.emf"/><Relationship Id="rId9" Type="http://schemas.openxmlformats.org/officeDocument/2006/relationships/image" Target="../media/image12.gi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oleObject" Target="../embeddings/oleObject7.bin"/><Relationship Id="rId7" Type="http://schemas.openxmlformats.org/officeDocument/2006/relationships/image" Target="../media/image10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9.gif"/><Relationship Id="rId5" Type="http://schemas.openxmlformats.org/officeDocument/2006/relationships/image" Target="../media/image8.gif"/><Relationship Id="rId4" Type="http://schemas.openxmlformats.org/officeDocument/2006/relationships/image" Target="../media/image1.emf"/><Relationship Id="rId9" Type="http://schemas.openxmlformats.org/officeDocument/2006/relationships/image" Target="../media/image12.gi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oleObject" Target="../embeddings/oleObject8.bin"/><Relationship Id="rId7" Type="http://schemas.openxmlformats.org/officeDocument/2006/relationships/image" Target="../media/image10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9.gif"/><Relationship Id="rId5" Type="http://schemas.openxmlformats.org/officeDocument/2006/relationships/image" Target="../media/image8.gif"/><Relationship Id="rId4" Type="http://schemas.openxmlformats.org/officeDocument/2006/relationships/image" Target="../media/image1.emf"/><Relationship Id="rId9" Type="http://schemas.openxmlformats.org/officeDocument/2006/relationships/image" Target="../media/image12.gi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oleObject" Target="../embeddings/oleObject9.bin"/><Relationship Id="rId7" Type="http://schemas.openxmlformats.org/officeDocument/2006/relationships/image" Target="../media/image10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9.gif"/><Relationship Id="rId5" Type="http://schemas.openxmlformats.org/officeDocument/2006/relationships/image" Target="../media/image8.gif"/><Relationship Id="rId4" Type="http://schemas.openxmlformats.org/officeDocument/2006/relationships/image" Target="../media/image1.emf"/><Relationship Id="rId9" Type="http://schemas.openxmlformats.org/officeDocument/2006/relationships/image" Target="../media/image12.gi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oleObject" Target="../embeddings/oleObject10.bin"/><Relationship Id="rId7" Type="http://schemas.openxmlformats.org/officeDocument/2006/relationships/image" Target="../media/image10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9.gif"/><Relationship Id="rId5" Type="http://schemas.openxmlformats.org/officeDocument/2006/relationships/image" Target="../media/image8.gif"/><Relationship Id="rId4" Type="http://schemas.openxmlformats.org/officeDocument/2006/relationships/image" Target="../media/image1.emf"/><Relationship Id="rId9" Type="http://schemas.openxmlformats.org/officeDocument/2006/relationships/image" Target="../media/image12.gi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0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9.gif"/><Relationship Id="rId5" Type="http://schemas.openxmlformats.org/officeDocument/2006/relationships/image" Target="../media/image8.gif"/><Relationship Id="rId4" Type="http://schemas.openxmlformats.org/officeDocument/2006/relationships/image" Target="../media/image1.emf"/><Relationship Id="rId9" Type="http://schemas.openxmlformats.org/officeDocument/2006/relationships/image" Target="../media/image12.gi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92BB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33EEA752-7360-4282-8E79-A5E6346BF71D}"/>
              </a:ext>
            </a:extLst>
          </p:cNvPr>
          <p:cNvSpPr/>
          <p:nvPr userDrawn="1"/>
        </p:nvSpPr>
        <p:spPr>
          <a:xfrm>
            <a:off x="-1803401" y="-1816100"/>
            <a:ext cx="12750800" cy="8775700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9999" y="3181213"/>
            <a:ext cx="7073503" cy="1034129"/>
          </a:xfrm>
          <a:noFill/>
        </p:spPr>
        <p:txBody>
          <a:bodyPr wrap="square" lIns="0" tIns="0" rIns="0" bIns="0" rtlCol="0" anchor="b" anchorCtr="0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spcBef>
                <a:spcPts val="0"/>
              </a:spcBef>
              <a:defRPr lang="en-GB" sz="4200" b="1" ker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0000" y="4257437"/>
            <a:ext cx="7076969" cy="430887"/>
          </a:xfr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subtitle style</a:t>
            </a:r>
            <a:endParaRPr lang="en-GB"/>
          </a:p>
        </p:txBody>
      </p:sp>
      <p:sp>
        <p:nvSpPr>
          <p:cNvPr id="21" name="Right Triangle 20">
            <a:extLst>
              <a:ext uri="{FF2B5EF4-FFF2-40B4-BE49-F238E27FC236}">
                <a16:creationId xmlns:a16="http://schemas.microsoft.com/office/drawing/2014/main" id="{F43D620C-34F6-402E-A082-6EF61CB8A6F6}"/>
              </a:ext>
            </a:extLst>
          </p:cNvPr>
          <p:cNvSpPr/>
          <p:nvPr userDrawn="1"/>
        </p:nvSpPr>
        <p:spPr>
          <a:xfrm flipH="1" flipV="1">
            <a:off x="5138382" y="-1"/>
            <a:ext cx="4005618" cy="4005616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GB" err="1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6958351-7C85-455D-8E02-2982B4F40F1B}"/>
              </a:ext>
            </a:extLst>
          </p:cNvPr>
          <p:cNvGrpSpPr/>
          <p:nvPr userDrawn="1"/>
        </p:nvGrpSpPr>
        <p:grpSpPr>
          <a:xfrm>
            <a:off x="9203090" y="4682010"/>
            <a:ext cx="1530000" cy="461490"/>
            <a:chOff x="9203090" y="4682010"/>
            <a:chExt cx="1440002" cy="461490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695BF876-F5E4-433B-87BE-FE23ED292173}"/>
                </a:ext>
              </a:extLst>
            </p:cNvPr>
            <p:cNvCxnSpPr/>
            <p:nvPr/>
          </p:nvCxnSpPr>
          <p:spPr bwMode="gray">
            <a:xfrm flipH="1">
              <a:off x="9203092" y="5143500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E0968F5-8407-4768-A7BB-97C9EB617B15}"/>
                </a:ext>
              </a:extLst>
            </p:cNvPr>
            <p:cNvCxnSpPr/>
            <p:nvPr/>
          </p:nvCxnSpPr>
          <p:spPr bwMode="gray">
            <a:xfrm flipH="1">
              <a:off x="9203092" y="4682010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C5445DC2-250D-48F9-A984-44B022560A73}"/>
                </a:ext>
              </a:extLst>
            </p:cNvPr>
            <p:cNvSpPr/>
            <p:nvPr/>
          </p:nvSpPr>
          <p:spPr bwMode="gray">
            <a:xfrm flipH="1">
              <a:off x="9203090" y="4721225"/>
              <a:ext cx="1439999" cy="422274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54000" rIns="108000" bIns="54000" rtlCol="0" anchor="b" anchorCtr="0">
              <a:noAutofit/>
            </a:bodyPr>
            <a:lstStyle/>
            <a:p>
              <a:pPr algn="l"/>
              <a:r>
                <a:rPr lang="en-US" sz="1000" b="0">
                  <a:solidFill>
                    <a:schemeClr val="tx1"/>
                  </a:solidFill>
                </a:rPr>
                <a:t>Logo margin bottom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0B853D6-36E3-4A5D-871E-E2C4345B9F60}"/>
              </a:ext>
            </a:extLst>
          </p:cNvPr>
          <p:cNvGrpSpPr/>
          <p:nvPr userDrawn="1"/>
        </p:nvGrpSpPr>
        <p:grpSpPr>
          <a:xfrm>
            <a:off x="8801099" y="5203311"/>
            <a:ext cx="342904" cy="1530000"/>
            <a:chOff x="8801099" y="5203311"/>
            <a:chExt cx="342904" cy="1440000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12F9024F-2FEC-4127-9DE4-9B0C4BC0EDC1}"/>
                </a:ext>
              </a:extLst>
            </p:cNvPr>
            <p:cNvCxnSpPr/>
            <p:nvPr/>
          </p:nvCxnSpPr>
          <p:spPr bwMode="gray">
            <a:xfrm rot="5400000" flipH="1">
              <a:off x="8081575" y="5923311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2FA56D73-E4E4-4E65-AC59-1FD9A75519F9}"/>
                </a:ext>
              </a:extLst>
            </p:cNvPr>
            <p:cNvCxnSpPr/>
            <p:nvPr/>
          </p:nvCxnSpPr>
          <p:spPr bwMode="gray">
            <a:xfrm rot="5400000" flipH="1">
              <a:off x="8424003" y="5923311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A709E1B-463B-4416-9A9B-8CB47E66AC5C}"/>
                </a:ext>
              </a:extLst>
            </p:cNvPr>
            <p:cNvSpPr/>
            <p:nvPr/>
          </p:nvSpPr>
          <p:spPr bwMode="gray">
            <a:xfrm rot="5400000" flipH="1">
              <a:off x="8251993" y="5752418"/>
              <a:ext cx="1439999" cy="341787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54000" rIns="108000" bIns="54000" rtlCol="0" anchor="b" anchorCtr="0">
              <a:noAutofit/>
            </a:bodyPr>
            <a:lstStyle/>
            <a:p>
              <a:pPr algn="l"/>
              <a:r>
                <a:rPr lang="en-US" sz="1000" b="0">
                  <a:solidFill>
                    <a:schemeClr val="tx1"/>
                  </a:solidFill>
                </a:rPr>
                <a:t>Logo margin right</a:t>
              </a: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687A9F34-604C-4A25-A03C-E585E0B017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557960" y="381004"/>
            <a:ext cx="2232000" cy="328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66985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nl-NL"/>
              <a:t>Business unit | Footer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352425" y="974122"/>
            <a:ext cx="1998000" cy="35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2499475" y="974122"/>
            <a:ext cx="1998000" cy="35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6"/>
          <p:cNvSpPr>
            <a:spLocks noGrp="1"/>
          </p:cNvSpPr>
          <p:nvPr>
            <p:ph sz="quarter" idx="20"/>
          </p:nvPr>
        </p:nvSpPr>
        <p:spPr bwMode="gray">
          <a:xfrm>
            <a:off x="4646525" y="974122"/>
            <a:ext cx="1998000" cy="35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64631"/>
            <a:ext cx="6487573" cy="72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Content Placeholder 16"/>
          <p:cNvSpPr>
            <a:spLocks noGrp="1"/>
          </p:cNvSpPr>
          <p:nvPr>
            <p:ph sz="quarter" idx="21"/>
          </p:nvPr>
        </p:nvSpPr>
        <p:spPr bwMode="gray">
          <a:xfrm>
            <a:off x="6793575" y="974122"/>
            <a:ext cx="1998000" cy="35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90383" y="4769594"/>
            <a:ext cx="288000" cy="288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663763" y="4769594"/>
            <a:ext cx="2448000" cy="288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4546964"/>
            <a:ext cx="8438400" cy="102592"/>
          </a:xfrm>
        </p:spPr>
        <p:txBody>
          <a:bodyPr anchor="b" anchorCtr="0">
            <a:spAutoFit/>
          </a:bodyPr>
          <a:lstStyle>
            <a:lvl1pPr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938979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nl-NL"/>
              <a:t>Business unit | Footer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352425" y="974122"/>
            <a:ext cx="4140000" cy="169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4651575" y="974122"/>
            <a:ext cx="4140000" cy="169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90383" y="4769594"/>
            <a:ext cx="288000" cy="288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663763" y="4769594"/>
            <a:ext cx="2448000" cy="288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16"/>
          <p:cNvSpPr>
            <a:spLocks noGrp="1"/>
          </p:cNvSpPr>
          <p:nvPr>
            <p:ph sz="quarter" idx="22"/>
          </p:nvPr>
        </p:nvSpPr>
        <p:spPr bwMode="gray">
          <a:xfrm>
            <a:off x="352425" y="2809871"/>
            <a:ext cx="4140000" cy="169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6"/>
          <p:cNvSpPr>
            <a:spLocks noGrp="1"/>
          </p:cNvSpPr>
          <p:nvPr>
            <p:ph sz="quarter" idx="23"/>
          </p:nvPr>
        </p:nvSpPr>
        <p:spPr bwMode="gray">
          <a:xfrm>
            <a:off x="4651575" y="2809871"/>
            <a:ext cx="4140000" cy="169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64631"/>
            <a:ext cx="6487573" cy="72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4546964"/>
            <a:ext cx="8438400" cy="102592"/>
          </a:xfrm>
        </p:spPr>
        <p:txBody>
          <a:bodyPr anchor="b" anchorCtr="0">
            <a:spAutoFit/>
          </a:bodyPr>
          <a:lstStyle>
            <a:lvl1pPr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6708686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92BB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BB7D8D07-0BCF-4BB0-A207-66204584BC8F}"/>
              </a:ext>
            </a:extLst>
          </p:cNvPr>
          <p:cNvSpPr/>
          <p:nvPr userDrawn="1"/>
        </p:nvSpPr>
        <p:spPr>
          <a:xfrm>
            <a:off x="-1803401" y="-1816100"/>
            <a:ext cx="12750800" cy="8775700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37" name="Object 3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Business unit | Foote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52425" y="945662"/>
            <a:ext cx="8439150" cy="360252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000" b="1">
                <a:solidFill>
                  <a:schemeClr val="bg1"/>
                </a:solidFill>
              </a:defRPr>
            </a:lvl1pPr>
            <a:lvl2pPr marL="719138" indent="-719138">
              <a:lnSpc>
                <a:spcPct val="90000"/>
              </a:lnSpc>
              <a:spcBef>
                <a:spcPts val="0"/>
              </a:spcBef>
              <a:buFontTx/>
              <a:buBlip>
                <a:blip r:embed="rId5"/>
              </a:buBlip>
              <a:defRPr sz="4000" b="1">
                <a:solidFill>
                  <a:schemeClr val="bg1"/>
                </a:solidFill>
              </a:defRPr>
            </a:lvl2pPr>
            <a:lvl3pPr marL="1255713" indent="-536575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defRPr sz="4000" b="1">
                <a:solidFill>
                  <a:schemeClr val="bg1"/>
                </a:solidFill>
              </a:defRPr>
            </a:lvl3pPr>
            <a:lvl4pPr marL="1792288" indent="-534988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defRPr sz="4000" b="1">
                <a:solidFill>
                  <a:schemeClr val="bg1"/>
                </a:solidFill>
              </a:defRPr>
            </a:lvl4pPr>
            <a:lvl5pPr marL="2328863" indent="-534988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defRPr sz="4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Rectangle 17"/>
          <p:cNvSpPr/>
          <p:nvPr/>
        </p:nvSpPr>
        <p:spPr bwMode="gray">
          <a:xfrm>
            <a:off x="-1671638" y="1405512"/>
            <a:ext cx="1531557" cy="180249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8000" bIns="108000" rtlCol="0" anchor="b" anchorCtr="0">
            <a:no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AkzoNobel Bullets</a:t>
            </a: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Only use the </a:t>
            </a:r>
            <a:r>
              <a:rPr lang="en-US" sz="900" b="0" u="sng">
                <a:solidFill>
                  <a:schemeClr val="tx1"/>
                </a:solidFill>
              </a:rPr>
              <a:t>List Level buttons</a:t>
            </a:r>
            <a:r>
              <a:rPr lang="en-US" sz="900" b="0">
                <a:solidFill>
                  <a:schemeClr val="tx1"/>
                </a:solidFill>
              </a:rPr>
              <a:t> to apply the</a:t>
            </a:r>
            <a:r>
              <a:rPr lang="en-US" sz="900" b="0" baseline="0">
                <a:solidFill>
                  <a:schemeClr val="tx1"/>
                </a:solidFill>
              </a:rPr>
              <a:t> </a:t>
            </a:r>
            <a:r>
              <a:rPr lang="en-US" sz="900" b="0" i="0" u="none" baseline="0">
                <a:solidFill>
                  <a:schemeClr val="tx1"/>
                </a:solidFill>
              </a:rPr>
              <a:t>AkzoNobel Branded Bullets</a:t>
            </a:r>
            <a:endParaRPr lang="en-US" sz="900" b="0" i="0" u="none">
              <a:solidFill>
                <a:schemeClr val="tx1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 bwMode="gray">
          <a:xfrm>
            <a:off x="-1573454" y="1531453"/>
            <a:ext cx="1335187" cy="795026"/>
            <a:chOff x="-1573454" y="1531453"/>
            <a:chExt cx="1335187" cy="795026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6"/>
            <a:srcRect l="18732" t="14956" r="50206" b="52163"/>
            <a:stretch>
              <a:fillRect/>
            </a:stretch>
          </p:blipFill>
          <p:spPr bwMode="gray">
            <a:xfrm>
              <a:off x="-1573454" y="1531453"/>
              <a:ext cx="1335187" cy="795026"/>
            </a:xfrm>
            <a:custGeom>
              <a:avLst/>
              <a:gdLst>
                <a:gd name="connsiteX0" fmla="*/ 0 w 2840306"/>
                <a:gd name="connsiteY0" fmla="*/ 0 h 1691236"/>
                <a:gd name="connsiteX1" fmla="*/ 2840306 w 2840306"/>
                <a:gd name="connsiteY1" fmla="*/ 0 h 1691236"/>
                <a:gd name="connsiteX2" fmla="*/ 2840306 w 2840306"/>
                <a:gd name="connsiteY2" fmla="*/ 1691236 h 1691236"/>
                <a:gd name="connsiteX3" fmla="*/ 0 w 2840306"/>
                <a:gd name="connsiteY3" fmla="*/ 1691236 h 169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0306" h="1691236">
                  <a:moveTo>
                    <a:pt x="0" y="0"/>
                  </a:moveTo>
                  <a:lnTo>
                    <a:pt x="2840306" y="0"/>
                  </a:lnTo>
                  <a:lnTo>
                    <a:pt x="2840306" y="1691236"/>
                  </a:lnTo>
                  <a:lnTo>
                    <a:pt x="0" y="1691236"/>
                  </a:lnTo>
                  <a:close/>
                </a:path>
              </a:pathLst>
            </a:custGeom>
          </p:spPr>
        </p:pic>
        <p:sp>
          <p:nvSpPr>
            <p:cNvPr id="21" name="Multiply 20"/>
            <p:cNvSpPr/>
            <p:nvPr/>
          </p:nvSpPr>
          <p:spPr bwMode="gray">
            <a:xfrm>
              <a:off x="-1571627" y="1551174"/>
              <a:ext cx="245272" cy="245272"/>
            </a:xfrm>
            <a:prstGeom prst="mathMultiply">
              <a:avLst>
                <a:gd name="adj1" fmla="val 8315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err="1"/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A9108234-EC49-4872-A1B2-08C93F174D8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013575" y="236191"/>
            <a:ext cx="1782000" cy="26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014403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with Header 2, white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DBF9782B-CBFB-4BC8-9AA2-401E0D5D484F}"/>
              </a:ext>
            </a:extLst>
          </p:cNvPr>
          <p:cNvSpPr/>
          <p:nvPr userDrawn="1"/>
        </p:nvSpPr>
        <p:spPr>
          <a:xfrm>
            <a:off x="-1803401" y="-1816100"/>
            <a:ext cx="12750800" cy="8775700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  <p:grpSp>
        <p:nvGrpSpPr>
          <p:cNvPr id="32" name="Group 33"/>
          <p:cNvGrpSpPr>
            <a:grpSpLocks noChangeAspect="1"/>
          </p:cNvGrpSpPr>
          <p:nvPr/>
        </p:nvGrpSpPr>
        <p:grpSpPr bwMode="gray">
          <a:xfrm>
            <a:off x="7014468" y="236463"/>
            <a:ext cx="1779160" cy="2592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34" name="Freeform 33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8" name="Picture Placeholder 57"/>
          <p:cNvSpPr>
            <a:spLocks noGrp="1"/>
          </p:cNvSpPr>
          <p:nvPr>
            <p:ph type="pic" sz="quarter" idx="17"/>
          </p:nvPr>
        </p:nvSpPr>
        <p:spPr bwMode="gray">
          <a:xfrm>
            <a:off x="1" y="-900"/>
            <a:ext cx="9143999" cy="5144400"/>
          </a:xfrm>
          <a:custGeom>
            <a:avLst/>
            <a:gdLst>
              <a:gd name="connsiteX0" fmla="*/ 8398022 w 9143999"/>
              <a:gd name="connsiteY0" fmla="*/ 345388 h 5144400"/>
              <a:gd name="connsiteX1" fmla="*/ 8441303 w 9143999"/>
              <a:gd name="connsiteY1" fmla="*/ 397979 h 5144400"/>
              <a:gd name="connsiteX2" fmla="*/ 8391839 w 9143999"/>
              <a:gd name="connsiteY2" fmla="*/ 466038 h 5144400"/>
              <a:gd name="connsiteX3" fmla="*/ 8382565 w 9143999"/>
              <a:gd name="connsiteY3" fmla="*/ 466038 h 5144400"/>
              <a:gd name="connsiteX4" fmla="*/ 8382565 w 9143999"/>
              <a:gd name="connsiteY4" fmla="*/ 348482 h 5144400"/>
              <a:gd name="connsiteX5" fmla="*/ 8398022 w 9143999"/>
              <a:gd name="connsiteY5" fmla="*/ 345388 h 5144400"/>
              <a:gd name="connsiteX6" fmla="*/ 8194405 w 9143999"/>
              <a:gd name="connsiteY6" fmla="*/ 339038 h 5144400"/>
              <a:gd name="connsiteX7" fmla="*/ 8222228 w 9143999"/>
              <a:gd name="connsiteY7" fmla="*/ 404046 h 5144400"/>
              <a:gd name="connsiteX8" fmla="*/ 8194405 w 9143999"/>
              <a:gd name="connsiteY8" fmla="*/ 462863 h 5144400"/>
              <a:gd name="connsiteX9" fmla="*/ 8163490 w 9143999"/>
              <a:gd name="connsiteY9" fmla="*/ 400951 h 5144400"/>
              <a:gd name="connsiteX10" fmla="*/ 8194405 w 9143999"/>
              <a:gd name="connsiteY10" fmla="*/ 339038 h 5144400"/>
              <a:gd name="connsiteX11" fmla="*/ 7739627 w 9143999"/>
              <a:gd name="connsiteY11" fmla="*/ 339038 h 5144400"/>
              <a:gd name="connsiteX12" fmla="*/ 7768202 w 9143999"/>
              <a:gd name="connsiteY12" fmla="*/ 404046 h 5144400"/>
              <a:gd name="connsiteX13" fmla="*/ 7739627 w 9143999"/>
              <a:gd name="connsiteY13" fmla="*/ 462863 h 5144400"/>
              <a:gd name="connsiteX14" fmla="*/ 7711052 w 9143999"/>
              <a:gd name="connsiteY14" fmla="*/ 400951 h 5144400"/>
              <a:gd name="connsiteX15" fmla="*/ 7739627 w 9143999"/>
              <a:gd name="connsiteY15" fmla="*/ 339038 h 5144400"/>
              <a:gd name="connsiteX16" fmla="*/ 8619102 w 9143999"/>
              <a:gd name="connsiteY16" fmla="*/ 335863 h 5144400"/>
              <a:gd name="connsiteX17" fmla="*/ 8650852 w 9143999"/>
              <a:gd name="connsiteY17" fmla="*/ 378725 h 5144400"/>
              <a:gd name="connsiteX18" fmla="*/ 8590527 w 9143999"/>
              <a:gd name="connsiteY18" fmla="*/ 378725 h 5144400"/>
              <a:gd name="connsiteX19" fmla="*/ 8619102 w 9143999"/>
              <a:gd name="connsiteY19" fmla="*/ 335863 h 5144400"/>
              <a:gd name="connsiteX20" fmla="*/ 7121217 w 9143999"/>
              <a:gd name="connsiteY20" fmla="*/ 308875 h 5144400"/>
              <a:gd name="connsiteX21" fmla="*/ 7149078 w 9143999"/>
              <a:gd name="connsiteY21" fmla="*/ 410475 h 5144400"/>
              <a:gd name="connsiteX22" fmla="*/ 7087165 w 9143999"/>
              <a:gd name="connsiteY22" fmla="*/ 410475 h 5144400"/>
              <a:gd name="connsiteX23" fmla="*/ 7121217 w 9143999"/>
              <a:gd name="connsiteY23" fmla="*/ 308875 h 5144400"/>
              <a:gd name="connsiteX24" fmla="*/ 7471280 w 9143999"/>
              <a:gd name="connsiteY24" fmla="*/ 305701 h 5144400"/>
              <a:gd name="connsiteX25" fmla="*/ 7471280 w 9143999"/>
              <a:gd name="connsiteY25" fmla="*/ 336410 h 5144400"/>
              <a:gd name="connsiteX26" fmla="*/ 7539787 w 9143999"/>
              <a:gd name="connsiteY26" fmla="*/ 336410 h 5144400"/>
              <a:gd name="connsiteX27" fmla="*/ 7474394 w 9143999"/>
              <a:gd name="connsiteY27" fmla="*/ 465388 h 5144400"/>
              <a:gd name="connsiteX28" fmla="*/ 7471280 w 9143999"/>
              <a:gd name="connsiteY28" fmla="*/ 493026 h 5144400"/>
              <a:gd name="connsiteX29" fmla="*/ 7608294 w 9143999"/>
              <a:gd name="connsiteY29" fmla="*/ 493026 h 5144400"/>
              <a:gd name="connsiteX30" fmla="*/ 7630091 w 9143999"/>
              <a:gd name="connsiteY30" fmla="*/ 471529 h 5144400"/>
              <a:gd name="connsiteX31" fmla="*/ 7630091 w 9143999"/>
              <a:gd name="connsiteY31" fmla="*/ 459246 h 5144400"/>
              <a:gd name="connsiteX32" fmla="*/ 7592724 w 9143999"/>
              <a:gd name="connsiteY32" fmla="*/ 462317 h 5144400"/>
              <a:gd name="connsiteX33" fmla="*/ 7549129 w 9143999"/>
              <a:gd name="connsiteY33" fmla="*/ 462317 h 5144400"/>
              <a:gd name="connsiteX34" fmla="*/ 7626977 w 9143999"/>
              <a:gd name="connsiteY34" fmla="*/ 305701 h 5144400"/>
              <a:gd name="connsiteX35" fmla="*/ 7471280 w 9143999"/>
              <a:gd name="connsiteY35" fmla="*/ 305701 h 5144400"/>
              <a:gd name="connsiteX36" fmla="*/ 8622169 w 9143999"/>
              <a:gd name="connsiteY36" fmla="*/ 305700 h 5144400"/>
              <a:gd name="connsiteX37" fmla="*/ 8525441 w 9143999"/>
              <a:gd name="connsiteY37" fmla="*/ 397827 h 5144400"/>
              <a:gd name="connsiteX38" fmla="*/ 8619049 w 9143999"/>
              <a:gd name="connsiteY38" fmla="*/ 493025 h 5144400"/>
              <a:gd name="connsiteX39" fmla="*/ 8697055 w 9143999"/>
              <a:gd name="connsiteY39" fmla="*/ 434678 h 5144400"/>
              <a:gd name="connsiteX40" fmla="*/ 8644011 w 9143999"/>
              <a:gd name="connsiteY40" fmla="*/ 450033 h 5144400"/>
              <a:gd name="connsiteX41" fmla="*/ 8590966 w 9143999"/>
              <a:gd name="connsiteY41" fmla="*/ 403969 h 5144400"/>
              <a:gd name="connsiteX42" fmla="*/ 8706416 w 9143999"/>
              <a:gd name="connsiteY42" fmla="*/ 403969 h 5144400"/>
              <a:gd name="connsiteX43" fmla="*/ 8706416 w 9143999"/>
              <a:gd name="connsiteY43" fmla="*/ 382473 h 5144400"/>
              <a:gd name="connsiteX44" fmla="*/ 8622169 w 9143999"/>
              <a:gd name="connsiteY44" fmla="*/ 305700 h 5144400"/>
              <a:gd name="connsiteX45" fmla="*/ 8195215 w 9143999"/>
              <a:gd name="connsiteY45" fmla="*/ 305700 h 5144400"/>
              <a:gd name="connsiteX46" fmla="*/ 8098403 w 9143999"/>
              <a:gd name="connsiteY46" fmla="*/ 403969 h 5144400"/>
              <a:gd name="connsiteX47" fmla="*/ 8192092 w 9143999"/>
              <a:gd name="connsiteY47" fmla="*/ 493025 h 5144400"/>
              <a:gd name="connsiteX48" fmla="*/ 8288903 w 9143999"/>
              <a:gd name="connsiteY48" fmla="*/ 394756 h 5144400"/>
              <a:gd name="connsiteX49" fmla="*/ 8195215 w 9143999"/>
              <a:gd name="connsiteY49" fmla="*/ 305700 h 5144400"/>
              <a:gd name="connsiteX50" fmla="*/ 7739629 w 9143999"/>
              <a:gd name="connsiteY50" fmla="*/ 305700 h 5144400"/>
              <a:gd name="connsiteX51" fmla="*/ 7639616 w 9143999"/>
              <a:gd name="connsiteY51" fmla="*/ 403969 h 5144400"/>
              <a:gd name="connsiteX52" fmla="*/ 7739629 w 9143999"/>
              <a:gd name="connsiteY52" fmla="*/ 493025 h 5144400"/>
              <a:gd name="connsiteX53" fmla="*/ 7839641 w 9143999"/>
              <a:gd name="connsiteY53" fmla="*/ 394757 h 5144400"/>
              <a:gd name="connsiteX54" fmla="*/ 7739629 w 9143999"/>
              <a:gd name="connsiteY54" fmla="*/ 305700 h 5144400"/>
              <a:gd name="connsiteX55" fmla="*/ 7102867 w 9143999"/>
              <a:gd name="connsiteY55" fmla="*/ 256489 h 5144400"/>
              <a:gd name="connsiteX56" fmla="*/ 7018903 w 9143999"/>
              <a:gd name="connsiteY56" fmla="*/ 493026 h 5144400"/>
              <a:gd name="connsiteX57" fmla="*/ 7056220 w 9143999"/>
              <a:gd name="connsiteY57" fmla="*/ 493026 h 5144400"/>
              <a:gd name="connsiteX58" fmla="*/ 7077989 w 9143999"/>
              <a:gd name="connsiteY58" fmla="*/ 434659 h 5144400"/>
              <a:gd name="connsiteX59" fmla="*/ 7158843 w 9143999"/>
              <a:gd name="connsiteY59" fmla="*/ 434659 h 5144400"/>
              <a:gd name="connsiteX60" fmla="*/ 7171282 w 9143999"/>
              <a:gd name="connsiteY60" fmla="*/ 471522 h 5144400"/>
              <a:gd name="connsiteX61" fmla="*/ 7196160 w 9143999"/>
              <a:gd name="connsiteY61" fmla="*/ 493026 h 5144400"/>
              <a:gd name="connsiteX62" fmla="*/ 7245916 w 9143999"/>
              <a:gd name="connsiteY62" fmla="*/ 493026 h 5144400"/>
              <a:gd name="connsiteX63" fmla="*/ 7239697 w 9143999"/>
              <a:gd name="connsiteY63" fmla="*/ 477666 h 5144400"/>
              <a:gd name="connsiteX64" fmla="*/ 7180611 w 9143999"/>
              <a:gd name="connsiteY64" fmla="*/ 290280 h 5144400"/>
              <a:gd name="connsiteX65" fmla="*/ 7133965 w 9143999"/>
              <a:gd name="connsiteY65" fmla="*/ 256489 h 5144400"/>
              <a:gd name="connsiteX66" fmla="*/ 7102867 w 9143999"/>
              <a:gd name="connsiteY66" fmla="*/ 256489 h 5144400"/>
              <a:gd name="connsiteX67" fmla="*/ 7866628 w 9143999"/>
              <a:gd name="connsiteY67" fmla="*/ 256488 h 5144400"/>
              <a:gd name="connsiteX68" fmla="*/ 7866628 w 9143999"/>
              <a:gd name="connsiteY68" fmla="*/ 493025 h 5144400"/>
              <a:gd name="connsiteX69" fmla="*/ 7907268 w 9143999"/>
              <a:gd name="connsiteY69" fmla="*/ 493025 h 5144400"/>
              <a:gd name="connsiteX70" fmla="*/ 7907268 w 9143999"/>
              <a:gd name="connsiteY70" fmla="*/ 345574 h 5144400"/>
              <a:gd name="connsiteX71" fmla="*/ 8004179 w 9143999"/>
              <a:gd name="connsiteY71" fmla="*/ 462306 h 5144400"/>
              <a:gd name="connsiteX72" fmla="*/ 8041693 w 9143999"/>
              <a:gd name="connsiteY72" fmla="*/ 493025 h 5144400"/>
              <a:gd name="connsiteX73" fmla="*/ 8069828 w 9143999"/>
              <a:gd name="connsiteY73" fmla="*/ 493025 h 5144400"/>
              <a:gd name="connsiteX74" fmla="*/ 8069828 w 9143999"/>
              <a:gd name="connsiteY74" fmla="*/ 277992 h 5144400"/>
              <a:gd name="connsiteX75" fmla="*/ 8047945 w 9143999"/>
              <a:gd name="connsiteY75" fmla="*/ 256488 h 5144400"/>
              <a:gd name="connsiteX76" fmla="*/ 8029188 w 9143999"/>
              <a:gd name="connsiteY76" fmla="*/ 256488 h 5144400"/>
              <a:gd name="connsiteX77" fmla="*/ 8029188 w 9143999"/>
              <a:gd name="connsiteY77" fmla="*/ 400868 h 5144400"/>
              <a:gd name="connsiteX78" fmla="*/ 7938530 w 9143999"/>
              <a:gd name="connsiteY78" fmla="*/ 284136 h 5144400"/>
              <a:gd name="connsiteX79" fmla="*/ 7894764 w 9143999"/>
              <a:gd name="connsiteY79" fmla="*/ 256488 h 5144400"/>
              <a:gd name="connsiteX80" fmla="*/ 7866628 w 9143999"/>
              <a:gd name="connsiteY80" fmla="*/ 256488 h 5144400"/>
              <a:gd name="connsiteX81" fmla="*/ 8738166 w 9143999"/>
              <a:gd name="connsiteY81" fmla="*/ 237438 h 5144400"/>
              <a:gd name="connsiteX82" fmla="*/ 8738166 w 9143999"/>
              <a:gd name="connsiteY82" fmla="*/ 493025 h 5144400"/>
              <a:gd name="connsiteX83" fmla="*/ 8793729 w 9143999"/>
              <a:gd name="connsiteY83" fmla="*/ 493025 h 5144400"/>
              <a:gd name="connsiteX84" fmla="*/ 8793729 w 9143999"/>
              <a:gd name="connsiteY84" fmla="*/ 274390 h 5144400"/>
              <a:gd name="connsiteX85" fmla="*/ 8759774 w 9143999"/>
              <a:gd name="connsiteY85" fmla="*/ 237438 h 5144400"/>
              <a:gd name="connsiteX86" fmla="*/ 8738166 w 9143999"/>
              <a:gd name="connsiteY86" fmla="*/ 237438 h 5144400"/>
              <a:gd name="connsiteX87" fmla="*/ 8315891 w 9143999"/>
              <a:gd name="connsiteY87" fmla="*/ 237438 h 5144400"/>
              <a:gd name="connsiteX88" fmla="*/ 8315891 w 9143999"/>
              <a:gd name="connsiteY88" fmla="*/ 493025 h 5144400"/>
              <a:gd name="connsiteX89" fmla="*/ 8393965 w 9143999"/>
              <a:gd name="connsiteY89" fmla="*/ 493025 h 5144400"/>
              <a:gd name="connsiteX90" fmla="*/ 8506391 w 9143999"/>
              <a:gd name="connsiteY90" fmla="*/ 388327 h 5144400"/>
              <a:gd name="connsiteX91" fmla="*/ 8431440 w 9143999"/>
              <a:gd name="connsiteY91" fmla="*/ 308263 h 5144400"/>
              <a:gd name="connsiteX92" fmla="*/ 8381473 w 9143999"/>
              <a:gd name="connsiteY92" fmla="*/ 326740 h 5144400"/>
              <a:gd name="connsiteX93" fmla="*/ 8381473 w 9143999"/>
              <a:gd name="connsiteY93" fmla="*/ 274391 h 5144400"/>
              <a:gd name="connsiteX94" fmla="*/ 8340875 w 9143999"/>
              <a:gd name="connsiteY94" fmla="*/ 237438 h 5144400"/>
              <a:gd name="connsiteX95" fmla="*/ 8315891 w 9143999"/>
              <a:gd name="connsiteY95" fmla="*/ 237438 h 5144400"/>
              <a:gd name="connsiteX96" fmla="*/ 7268141 w 9143999"/>
              <a:gd name="connsiteY96" fmla="*/ 237438 h 5144400"/>
              <a:gd name="connsiteX97" fmla="*/ 7268141 w 9143999"/>
              <a:gd name="connsiteY97" fmla="*/ 493025 h 5144400"/>
              <a:gd name="connsiteX98" fmla="*/ 7333229 w 9143999"/>
              <a:gd name="connsiteY98" fmla="*/ 493025 h 5144400"/>
              <a:gd name="connsiteX99" fmla="*/ 7333229 w 9143999"/>
              <a:gd name="connsiteY99" fmla="*/ 420859 h 5144400"/>
              <a:gd name="connsiteX100" fmla="*/ 7333229 w 9143999"/>
              <a:gd name="connsiteY100" fmla="*/ 394758 h 5144400"/>
              <a:gd name="connsiteX101" fmla="*/ 7354980 w 9143999"/>
              <a:gd name="connsiteY101" fmla="*/ 433815 h 5144400"/>
              <a:gd name="connsiteX102" fmla="*/ 7370852 w 9143999"/>
              <a:gd name="connsiteY102" fmla="*/ 462317 h 5144400"/>
              <a:gd name="connsiteX103" fmla="*/ 7405341 w 9143999"/>
              <a:gd name="connsiteY103" fmla="*/ 493026 h 5144400"/>
              <a:gd name="connsiteX104" fmla="*/ 7458641 w 9143999"/>
              <a:gd name="connsiteY104" fmla="*/ 493026 h 5144400"/>
              <a:gd name="connsiteX105" fmla="*/ 7446100 w 9143999"/>
              <a:gd name="connsiteY105" fmla="*/ 477671 h 5144400"/>
              <a:gd name="connsiteX106" fmla="*/ 7395935 w 9143999"/>
              <a:gd name="connsiteY106" fmla="*/ 379402 h 5144400"/>
              <a:gd name="connsiteX107" fmla="*/ 7455506 w 9143999"/>
              <a:gd name="connsiteY107" fmla="*/ 305701 h 5144400"/>
              <a:gd name="connsiteX108" fmla="*/ 7402205 w 9143999"/>
              <a:gd name="connsiteY108" fmla="*/ 305701 h 5144400"/>
              <a:gd name="connsiteX109" fmla="*/ 7334306 w 9143999"/>
              <a:gd name="connsiteY109" fmla="*/ 393365 h 5144400"/>
              <a:gd name="connsiteX110" fmla="*/ 7333229 w 9143999"/>
              <a:gd name="connsiteY110" fmla="*/ 394755 h 5144400"/>
              <a:gd name="connsiteX111" fmla="*/ 7333229 w 9143999"/>
              <a:gd name="connsiteY111" fmla="*/ 366627 h 5144400"/>
              <a:gd name="connsiteX112" fmla="*/ 7333229 w 9143999"/>
              <a:gd name="connsiteY112" fmla="*/ 274391 h 5144400"/>
              <a:gd name="connsiteX113" fmla="*/ 7289837 w 9143999"/>
              <a:gd name="connsiteY113" fmla="*/ 237438 h 5144400"/>
              <a:gd name="connsiteX114" fmla="*/ 7268141 w 9143999"/>
              <a:gd name="connsiteY114" fmla="*/ 237438 h 5144400"/>
              <a:gd name="connsiteX115" fmla="*/ 8932543 w 9143999"/>
              <a:gd name="connsiteY115" fmla="*/ 0 h 5144400"/>
              <a:gd name="connsiteX116" fmla="*/ 9143999 w 9143999"/>
              <a:gd name="connsiteY116" fmla="*/ 0 h 5144400"/>
              <a:gd name="connsiteX117" fmla="*/ 9143999 w 9143999"/>
              <a:gd name="connsiteY117" fmla="*/ 5144400 h 5144400"/>
              <a:gd name="connsiteX118" fmla="*/ 9027314 w 9143999"/>
              <a:gd name="connsiteY118" fmla="*/ 5144400 h 5144400"/>
              <a:gd name="connsiteX119" fmla="*/ 9009627 w 9143999"/>
              <a:gd name="connsiteY119" fmla="*/ 5144400 h 5144400"/>
              <a:gd name="connsiteX120" fmla="*/ 8932543 w 9143999"/>
              <a:gd name="connsiteY120" fmla="*/ 5144400 h 5144400"/>
              <a:gd name="connsiteX121" fmla="*/ 8853155 w 9143999"/>
              <a:gd name="connsiteY121" fmla="*/ 5144400 h 5144400"/>
              <a:gd name="connsiteX122" fmla="*/ 0 w 9143999"/>
              <a:gd name="connsiteY122" fmla="*/ 5144400 h 5144400"/>
              <a:gd name="connsiteX123" fmla="*/ 0 w 9143999"/>
              <a:gd name="connsiteY123" fmla="*/ 902 h 5144400"/>
              <a:gd name="connsiteX124" fmla="*/ 8853155 w 9143999"/>
              <a:gd name="connsiteY124" fmla="*/ 902 h 5144400"/>
              <a:gd name="connsiteX125" fmla="*/ 8853155 w 9143999"/>
              <a:gd name="connsiteY125" fmla="*/ 900 h 5144400"/>
              <a:gd name="connsiteX126" fmla="*/ 8932543 w 9143999"/>
              <a:gd name="connsiteY126" fmla="*/ 9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5144400">
                <a:moveTo>
                  <a:pt x="8398022" y="345388"/>
                </a:moveTo>
                <a:cubicBezTo>
                  <a:pt x="8419663" y="345388"/>
                  <a:pt x="8441303" y="367043"/>
                  <a:pt x="8441303" y="397979"/>
                </a:cubicBezTo>
                <a:cubicBezTo>
                  <a:pt x="8441303" y="441289"/>
                  <a:pt x="8422754" y="466038"/>
                  <a:pt x="8391839" y="466038"/>
                </a:cubicBezTo>
                <a:cubicBezTo>
                  <a:pt x="8382565" y="466038"/>
                  <a:pt x="8382565" y="466038"/>
                  <a:pt x="8382565" y="466038"/>
                </a:cubicBezTo>
                <a:cubicBezTo>
                  <a:pt x="8382565" y="348482"/>
                  <a:pt x="8382565" y="348482"/>
                  <a:pt x="8382565" y="348482"/>
                </a:cubicBezTo>
                <a:cubicBezTo>
                  <a:pt x="8385656" y="345388"/>
                  <a:pt x="8388748" y="345388"/>
                  <a:pt x="8398022" y="345388"/>
                </a:cubicBezTo>
                <a:close/>
                <a:moveTo>
                  <a:pt x="8194405" y="339038"/>
                </a:moveTo>
                <a:cubicBezTo>
                  <a:pt x="8212954" y="339038"/>
                  <a:pt x="8222228" y="366899"/>
                  <a:pt x="8222228" y="404046"/>
                </a:cubicBezTo>
                <a:cubicBezTo>
                  <a:pt x="8222228" y="441194"/>
                  <a:pt x="8212954" y="462863"/>
                  <a:pt x="8194405" y="462863"/>
                </a:cubicBezTo>
                <a:cubicBezTo>
                  <a:pt x="8172765" y="462863"/>
                  <a:pt x="8163490" y="438098"/>
                  <a:pt x="8163490" y="400951"/>
                </a:cubicBezTo>
                <a:cubicBezTo>
                  <a:pt x="8163490" y="363803"/>
                  <a:pt x="8172765" y="339038"/>
                  <a:pt x="8194405" y="339038"/>
                </a:cubicBezTo>
                <a:close/>
                <a:moveTo>
                  <a:pt x="7739627" y="339038"/>
                </a:moveTo>
                <a:cubicBezTo>
                  <a:pt x="7761852" y="339038"/>
                  <a:pt x="7768202" y="366899"/>
                  <a:pt x="7768202" y="404046"/>
                </a:cubicBezTo>
                <a:cubicBezTo>
                  <a:pt x="7768202" y="441194"/>
                  <a:pt x="7761852" y="462863"/>
                  <a:pt x="7739627" y="462863"/>
                </a:cubicBezTo>
                <a:cubicBezTo>
                  <a:pt x="7717402" y="462863"/>
                  <a:pt x="7711052" y="438098"/>
                  <a:pt x="7711052" y="400951"/>
                </a:cubicBezTo>
                <a:cubicBezTo>
                  <a:pt x="7711052" y="363803"/>
                  <a:pt x="7717402" y="339038"/>
                  <a:pt x="7739627" y="339038"/>
                </a:cubicBezTo>
                <a:close/>
                <a:moveTo>
                  <a:pt x="8619102" y="335863"/>
                </a:moveTo>
                <a:cubicBezTo>
                  <a:pt x="8644502" y="335863"/>
                  <a:pt x="8650852" y="378725"/>
                  <a:pt x="8650852" y="378725"/>
                </a:cubicBezTo>
                <a:cubicBezTo>
                  <a:pt x="8590527" y="378725"/>
                  <a:pt x="8590527" y="378725"/>
                  <a:pt x="8590527" y="378725"/>
                </a:cubicBezTo>
                <a:cubicBezTo>
                  <a:pt x="8590527" y="354233"/>
                  <a:pt x="8600052" y="335863"/>
                  <a:pt x="8619102" y="335863"/>
                </a:cubicBezTo>
                <a:close/>
                <a:moveTo>
                  <a:pt x="7121217" y="308875"/>
                </a:moveTo>
                <a:cubicBezTo>
                  <a:pt x="7149078" y="410475"/>
                  <a:pt x="7149078" y="410475"/>
                  <a:pt x="7149078" y="410475"/>
                </a:cubicBezTo>
                <a:cubicBezTo>
                  <a:pt x="7087165" y="410475"/>
                  <a:pt x="7087165" y="410475"/>
                  <a:pt x="7087165" y="410475"/>
                </a:cubicBezTo>
                <a:cubicBezTo>
                  <a:pt x="7121217" y="308875"/>
                  <a:pt x="7121217" y="308875"/>
                  <a:pt x="7121217" y="308875"/>
                </a:cubicBezTo>
                <a:close/>
                <a:moveTo>
                  <a:pt x="7471280" y="305701"/>
                </a:moveTo>
                <a:cubicBezTo>
                  <a:pt x="7471280" y="336410"/>
                  <a:pt x="7471280" y="336410"/>
                  <a:pt x="7471280" y="336410"/>
                </a:cubicBezTo>
                <a:cubicBezTo>
                  <a:pt x="7539787" y="336410"/>
                  <a:pt x="7539787" y="336410"/>
                  <a:pt x="7539787" y="336410"/>
                </a:cubicBezTo>
                <a:cubicBezTo>
                  <a:pt x="7474394" y="465388"/>
                  <a:pt x="7474394" y="465388"/>
                  <a:pt x="7474394" y="465388"/>
                </a:cubicBezTo>
                <a:cubicBezTo>
                  <a:pt x="7468166" y="477671"/>
                  <a:pt x="7468166" y="486884"/>
                  <a:pt x="7471280" y="493026"/>
                </a:cubicBezTo>
                <a:cubicBezTo>
                  <a:pt x="7608294" y="493026"/>
                  <a:pt x="7608294" y="493026"/>
                  <a:pt x="7608294" y="493026"/>
                </a:cubicBezTo>
                <a:cubicBezTo>
                  <a:pt x="7620749" y="493026"/>
                  <a:pt x="7630091" y="483813"/>
                  <a:pt x="7630091" y="471529"/>
                </a:cubicBezTo>
                <a:cubicBezTo>
                  <a:pt x="7630091" y="459246"/>
                  <a:pt x="7630091" y="459246"/>
                  <a:pt x="7630091" y="459246"/>
                </a:cubicBezTo>
                <a:cubicBezTo>
                  <a:pt x="7623863" y="462317"/>
                  <a:pt x="7614522" y="462317"/>
                  <a:pt x="7592724" y="462317"/>
                </a:cubicBezTo>
                <a:cubicBezTo>
                  <a:pt x="7549129" y="462317"/>
                  <a:pt x="7549129" y="462317"/>
                  <a:pt x="7549129" y="462317"/>
                </a:cubicBezTo>
                <a:cubicBezTo>
                  <a:pt x="7626977" y="305701"/>
                  <a:pt x="7626977" y="305701"/>
                  <a:pt x="7626977" y="305701"/>
                </a:cubicBezTo>
                <a:cubicBezTo>
                  <a:pt x="7471280" y="305701"/>
                  <a:pt x="7471280" y="305701"/>
                  <a:pt x="7471280" y="305701"/>
                </a:cubicBezTo>
                <a:close/>
                <a:moveTo>
                  <a:pt x="8622169" y="305700"/>
                </a:moveTo>
                <a:cubicBezTo>
                  <a:pt x="8566004" y="305700"/>
                  <a:pt x="8525441" y="342551"/>
                  <a:pt x="8525441" y="397827"/>
                </a:cubicBezTo>
                <a:cubicBezTo>
                  <a:pt x="8525441" y="453103"/>
                  <a:pt x="8562884" y="493025"/>
                  <a:pt x="8619049" y="493025"/>
                </a:cubicBezTo>
                <a:cubicBezTo>
                  <a:pt x="8675213" y="493025"/>
                  <a:pt x="8697055" y="462316"/>
                  <a:pt x="8697055" y="434678"/>
                </a:cubicBezTo>
                <a:cubicBezTo>
                  <a:pt x="8684574" y="443891"/>
                  <a:pt x="8665853" y="450033"/>
                  <a:pt x="8644011" y="450033"/>
                </a:cubicBezTo>
                <a:cubicBezTo>
                  <a:pt x="8612808" y="450033"/>
                  <a:pt x="8590966" y="431607"/>
                  <a:pt x="8590966" y="403969"/>
                </a:cubicBezTo>
                <a:cubicBezTo>
                  <a:pt x="8706416" y="403969"/>
                  <a:pt x="8706416" y="403969"/>
                  <a:pt x="8706416" y="403969"/>
                </a:cubicBezTo>
                <a:cubicBezTo>
                  <a:pt x="8706416" y="394756"/>
                  <a:pt x="8706416" y="388615"/>
                  <a:pt x="8706416" y="382473"/>
                </a:cubicBezTo>
                <a:cubicBezTo>
                  <a:pt x="8706416" y="339480"/>
                  <a:pt x="8675213" y="305700"/>
                  <a:pt x="8622169" y="305700"/>
                </a:cubicBezTo>
                <a:close/>
                <a:moveTo>
                  <a:pt x="8195215" y="305700"/>
                </a:moveTo>
                <a:cubicBezTo>
                  <a:pt x="8139002" y="305700"/>
                  <a:pt x="8098403" y="342551"/>
                  <a:pt x="8098403" y="403969"/>
                </a:cubicBezTo>
                <a:cubicBezTo>
                  <a:pt x="8098403" y="456174"/>
                  <a:pt x="8139002" y="493025"/>
                  <a:pt x="8192092" y="493025"/>
                </a:cubicBezTo>
                <a:cubicBezTo>
                  <a:pt x="8245182" y="493025"/>
                  <a:pt x="8288903" y="456174"/>
                  <a:pt x="8288903" y="394756"/>
                </a:cubicBezTo>
                <a:cubicBezTo>
                  <a:pt x="8288903" y="342551"/>
                  <a:pt x="8248305" y="305700"/>
                  <a:pt x="8195215" y="305700"/>
                </a:cubicBezTo>
                <a:close/>
                <a:moveTo>
                  <a:pt x="7739629" y="305700"/>
                </a:moveTo>
                <a:cubicBezTo>
                  <a:pt x="7686497" y="305700"/>
                  <a:pt x="7639616" y="342551"/>
                  <a:pt x="7639616" y="403969"/>
                </a:cubicBezTo>
                <a:cubicBezTo>
                  <a:pt x="7639616" y="456175"/>
                  <a:pt x="7686497" y="493025"/>
                  <a:pt x="7739629" y="493025"/>
                </a:cubicBezTo>
                <a:cubicBezTo>
                  <a:pt x="7792760" y="493025"/>
                  <a:pt x="7839641" y="456175"/>
                  <a:pt x="7839641" y="394757"/>
                </a:cubicBezTo>
                <a:cubicBezTo>
                  <a:pt x="7839641" y="342551"/>
                  <a:pt x="7795886" y="305700"/>
                  <a:pt x="7739629" y="305700"/>
                </a:cubicBezTo>
                <a:close/>
                <a:moveTo>
                  <a:pt x="7102867" y="256489"/>
                </a:moveTo>
                <a:cubicBezTo>
                  <a:pt x="7018903" y="493026"/>
                  <a:pt x="7018903" y="493026"/>
                  <a:pt x="7018903" y="493026"/>
                </a:cubicBezTo>
                <a:cubicBezTo>
                  <a:pt x="7056220" y="493026"/>
                  <a:pt x="7056220" y="493026"/>
                  <a:pt x="7056220" y="493026"/>
                </a:cubicBezTo>
                <a:cubicBezTo>
                  <a:pt x="7077989" y="434659"/>
                  <a:pt x="7077989" y="434659"/>
                  <a:pt x="7077989" y="434659"/>
                </a:cubicBezTo>
                <a:cubicBezTo>
                  <a:pt x="7158843" y="434659"/>
                  <a:pt x="7158843" y="434659"/>
                  <a:pt x="7158843" y="434659"/>
                </a:cubicBezTo>
                <a:cubicBezTo>
                  <a:pt x="7171282" y="471522"/>
                  <a:pt x="7171282" y="471522"/>
                  <a:pt x="7171282" y="471522"/>
                </a:cubicBezTo>
                <a:cubicBezTo>
                  <a:pt x="7177501" y="486882"/>
                  <a:pt x="7180611" y="493026"/>
                  <a:pt x="7196160" y="493026"/>
                </a:cubicBezTo>
                <a:cubicBezTo>
                  <a:pt x="7245916" y="493026"/>
                  <a:pt x="7245916" y="493026"/>
                  <a:pt x="7245916" y="493026"/>
                </a:cubicBezTo>
                <a:cubicBezTo>
                  <a:pt x="7245916" y="489954"/>
                  <a:pt x="7242806" y="486882"/>
                  <a:pt x="7239697" y="477666"/>
                </a:cubicBezTo>
                <a:cubicBezTo>
                  <a:pt x="7180611" y="290280"/>
                  <a:pt x="7180611" y="290280"/>
                  <a:pt x="7180611" y="290280"/>
                </a:cubicBezTo>
                <a:cubicBezTo>
                  <a:pt x="7171282" y="268776"/>
                  <a:pt x="7161953" y="256489"/>
                  <a:pt x="7133965" y="256489"/>
                </a:cubicBezTo>
                <a:cubicBezTo>
                  <a:pt x="7102867" y="256489"/>
                  <a:pt x="7102867" y="256489"/>
                  <a:pt x="7102867" y="256489"/>
                </a:cubicBezTo>
                <a:close/>
                <a:moveTo>
                  <a:pt x="7866628" y="256488"/>
                </a:moveTo>
                <a:cubicBezTo>
                  <a:pt x="7866628" y="493025"/>
                  <a:pt x="7866628" y="493025"/>
                  <a:pt x="7866628" y="493025"/>
                </a:cubicBezTo>
                <a:cubicBezTo>
                  <a:pt x="7907268" y="493025"/>
                  <a:pt x="7907268" y="493025"/>
                  <a:pt x="7907268" y="493025"/>
                </a:cubicBezTo>
                <a:cubicBezTo>
                  <a:pt x="7907268" y="345574"/>
                  <a:pt x="7907268" y="345574"/>
                  <a:pt x="7907268" y="345574"/>
                </a:cubicBezTo>
                <a:cubicBezTo>
                  <a:pt x="8004179" y="462306"/>
                  <a:pt x="8004179" y="462306"/>
                  <a:pt x="8004179" y="462306"/>
                </a:cubicBezTo>
                <a:cubicBezTo>
                  <a:pt x="8016684" y="480738"/>
                  <a:pt x="8026062" y="493025"/>
                  <a:pt x="8041693" y="493025"/>
                </a:cubicBezTo>
                <a:cubicBezTo>
                  <a:pt x="8069828" y="493025"/>
                  <a:pt x="8069828" y="493025"/>
                  <a:pt x="8069828" y="493025"/>
                </a:cubicBezTo>
                <a:cubicBezTo>
                  <a:pt x="8069828" y="277992"/>
                  <a:pt x="8069828" y="277992"/>
                  <a:pt x="8069828" y="277992"/>
                </a:cubicBezTo>
                <a:cubicBezTo>
                  <a:pt x="8069828" y="265704"/>
                  <a:pt x="8060450" y="256488"/>
                  <a:pt x="8047945" y="256488"/>
                </a:cubicBezTo>
                <a:cubicBezTo>
                  <a:pt x="8029188" y="256488"/>
                  <a:pt x="8029188" y="256488"/>
                  <a:pt x="8029188" y="256488"/>
                </a:cubicBezTo>
                <a:cubicBezTo>
                  <a:pt x="8029188" y="400868"/>
                  <a:pt x="8029188" y="400868"/>
                  <a:pt x="8029188" y="400868"/>
                </a:cubicBezTo>
                <a:cubicBezTo>
                  <a:pt x="7938530" y="284136"/>
                  <a:pt x="7938530" y="284136"/>
                  <a:pt x="7938530" y="284136"/>
                </a:cubicBezTo>
                <a:cubicBezTo>
                  <a:pt x="7922899" y="268776"/>
                  <a:pt x="7916647" y="256488"/>
                  <a:pt x="7894764" y="256488"/>
                </a:cubicBezTo>
                <a:cubicBezTo>
                  <a:pt x="7866628" y="256488"/>
                  <a:pt x="7866628" y="256488"/>
                  <a:pt x="7866628" y="256488"/>
                </a:cubicBezTo>
                <a:close/>
                <a:moveTo>
                  <a:pt x="8738166" y="237438"/>
                </a:moveTo>
                <a:cubicBezTo>
                  <a:pt x="8738166" y="493025"/>
                  <a:pt x="8738166" y="493025"/>
                  <a:pt x="8738166" y="493025"/>
                </a:cubicBezTo>
                <a:cubicBezTo>
                  <a:pt x="8793729" y="493025"/>
                  <a:pt x="8793729" y="493025"/>
                  <a:pt x="8793729" y="493025"/>
                </a:cubicBezTo>
                <a:cubicBezTo>
                  <a:pt x="8793729" y="274390"/>
                  <a:pt x="8793729" y="274390"/>
                  <a:pt x="8793729" y="274390"/>
                </a:cubicBezTo>
                <a:cubicBezTo>
                  <a:pt x="8793729" y="252835"/>
                  <a:pt x="8778295" y="237438"/>
                  <a:pt x="8759774" y="237438"/>
                </a:cubicBezTo>
                <a:cubicBezTo>
                  <a:pt x="8738166" y="237438"/>
                  <a:pt x="8738166" y="237438"/>
                  <a:pt x="8738166" y="237438"/>
                </a:cubicBezTo>
                <a:close/>
                <a:moveTo>
                  <a:pt x="8315891" y="237438"/>
                </a:moveTo>
                <a:cubicBezTo>
                  <a:pt x="8315891" y="493025"/>
                  <a:pt x="8315891" y="493025"/>
                  <a:pt x="8315891" y="493025"/>
                </a:cubicBezTo>
                <a:cubicBezTo>
                  <a:pt x="8393965" y="493025"/>
                  <a:pt x="8393965" y="493025"/>
                  <a:pt x="8393965" y="493025"/>
                </a:cubicBezTo>
                <a:cubicBezTo>
                  <a:pt x="8465793" y="493025"/>
                  <a:pt x="8506391" y="456073"/>
                  <a:pt x="8506391" y="388327"/>
                </a:cubicBezTo>
                <a:cubicBezTo>
                  <a:pt x="8506391" y="342136"/>
                  <a:pt x="8475161" y="308263"/>
                  <a:pt x="8431440" y="308263"/>
                </a:cubicBezTo>
                <a:cubicBezTo>
                  <a:pt x="8409580" y="308263"/>
                  <a:pt x="8390842" y="317502"/>
                  <a:pt x="8381473" y="326740"/>
                </a:cubicBezTo>
                <a:cubicBezTo>
                  <a:pt x="8381473" y="274391"/>
                  <a:pt x="8381473" y="274391"/>
                  <a:pt x="8381473" y="274391"/>
                </a:cubicBezTo>
                <a:cubicBezTo>
                  <a:pt x="8381473" y="252835"/>
                  <a:pt x="8362735" y="237438"/>
                  <a:pt x="8340875" y="237438"/>
                </a:cubicBezTo>
                <a:cubicBezTo>
                  <a:pt x="8315891" y="237438"/>
                  <a:pt x="8315891" y="237438"/>
                  <a:pt x="8315891" y="237438"/>
                </a:cubicBezTo>
                <a:close/>
                <a:moveTo>
                  <a:pt x="7268141" y="237438"/>
                </a:moveTo>
                <a:cubicBezTo>
                  <a:pt x="7268141" y="493025"/>
                  <a:pt x="7268141" y="493025"/>
                  <a:pt x="7268141" y="493025"/>
                </a:cubicBezTo>
                <a:cubicBezTo>
                  <a:pt x="7333229" y="493025"/>
                  <a:pt x="7333229" y="493025"/>
                  <a:pt x="7333229" y="493025"/>
                </a:cubicBezTo>
                <a:cubicBezTo>
                  <a:pt x="7333229" y="465696"/>
                  <a:pt x="7333229" y="441783"/>
                  <a:pt x="7333229" y="420859"/>
                </a:cubicBezTo>
                <a:lnTo>
                  <a:pt x="7333229" y="394758"/>
                </a:lnTo>
                <a:lnTo>
                  <a:pt x="7354980" y="433815"/>
                </a:lnTo>
                <a:cubicBezTo>
                  <a:pt x="7370852" y="462317"/>
                  <a:pt x="7370852" y="462317"/>
                  <a:pt x="7370852" y="462317"/>
                </a:cubicBezTo>
                <a:cubicBezTo>
                  <a:pt x="7380258" y="483813"/>
                  <a:pt x="7383393" y="493026"/>
                  <a:pt x="7405341" y="493026"/>
                </a:cubicBezTo>
                <a:cubicBezTo>
                  <a:pt x="7458641" y="493026"/>
                  <a:pt x="7458641" y="493026"/>
                  <a:pt x="7458641" y="493026"/>
                </a:cubicBezTo>
                <a:cubicBezTo>
                  <a:pt x="7455506" y="489955"/>
                  <a:pt x="7452371" y="486884"/>
                  <a:pt x="7446100" y="477671"/>
                </a:cubicBezTo>
                <a:cubicBezTo>
                  <a:pt x="7395935" y="379402"/>
                  <a:pt x="7395935" y="379402"/>
                  <a:pt x="7395935" y="379402"/>
                </a:cubicBezTo>
                <a:cubicBezTo>
                  <a:pt x="7455506" y="305701"/>
                  <a:pt x="7455506" y="305701"/>
                  <a:pt x="7455506" y="305701"/>
                </a:cubicBezTo>
                <a:cubicBezTo>
                  <a:pt x="7402205" y="305701"/>
                  <a:pt x="7402205" y="305701"/>
                  <a:pt x="7402205" y="305701"/>
                </a:cubicBezTo>
                <a:cubicBezTo>
                  <a:pt x="7350473" y="372493"/>
                  <a:pt x="7337539" y="389191"/>
                  <a:pt x="7334306" y="393365"/>
                </a:cubicBezTo>
                <a:lnTo>
                  <a:pt x="7333229" y="394755"/>
                </a:lnTo>
                <a:lnTo>
                  <a:pt x="7333229" y="366627"/>
                </a:lnTo>
                <a:cubicBezTo>
                  <a:pt x="7333229" y="274391"/>
                  <a:pt x="7333229" y="274391"/>
                  <a:pt x="7333229" y="274391"/>
                </a:cubicBezTo>
                <a:cubicBezTo>
                  <a:pt x="7333229" y="252835"/>
                  <a:pt x="7314633" y="237438"/>
                  <a:pt x="7289837" y="237438"/>
                </a:cubicBezTo>
                <a:cubicBezTo>
                  <a:pt x="7268141" y="237438"/>
                  <a:pt x="7268141" y="237438"/>
                  <a:pt x="7268141" y="237438"/>
                </a:cubicBezTo>
                <a:close/>
                <a:moveTo>
                  <a:pt x="8932543" y="0"/>
                </a:moveTo>
                <a:lnTo>
                  <a:pt x="9143999" y="0"/>
                </a:lnTo>
                <a:lnTo>
                  <a:pt x="9143999" y="5144400"/>
                </a:lnTo>
                <a:lnTo>
                  <a:pt x="9027314" y="5144400"/>
                </a:lnTo>
                <a:lnTo>
                  <a:pt x="9009627" y="5144400"/>
                </a:lnTo>
                <a:lnTo>
                  <a:pt x="8932543" y="5144400"/>
                </a:lnTo>
                <a:lnTo>
                  <a:pt x="8853155" y="5144400"/>
                </a:lnTo>
                <a:lnTo>
                  <a:pt x="0" y="5144400"/>
                </a:lnTo>
                <a:lnTo>
                  <a:pt x="0" y="902"/>
                </a:lnTo>
                <a:lnTo>
                  <a:pt x="8853155" y="902"/>
                </a:lnTo>
                <a:lnTo>
                  <a:pt x="8853155" y="900"/>
                </a:lnTo>
                <a:lnTo>
                  <a:pt x="8932543" y="9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oup 27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29" name="Rectangle 28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>
                <a:solidFill>
                  <a:schemeClr val="tx1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>
                  <a:solidFill>
                    <a:schemeClr val="tx1"/>
                  </a:solidFill>
                </a:rPr>
                <a:t>Click</a:t>
              </a:r>
              <a:r>
                <a:rPr lang="en-US" sz="900" b="0" baseline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>
                  <a:solidFill>
                    <a:schemeClr val="tx1"/>
                  </a:solidFill>
                </a:rPr>
              </a:br>
              <a:r>
                <a:rPr lang="en-US" sz="900" b="0" baseline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>
                <a:solidFill>
                  <a:schemeClr val="tx1"/>
                </a:solidFill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38" name="Rectangle 37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err="1"/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40" name="Straight Arrow Connector 39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>
              <a:stCxn id="31" idx="0"/>
              <a:endCxn id="31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>
              <a:stCxn id="31" idx="3"/>
              <a:endCxn id="31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Oval 63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err="1"/>
            </a:p>
          </p:txBody>
        </p:sp>
      </p:grpSp>
      <p:sp>
        <p:nvSpPr>
          <p:cNvPr id="55" name="Text Placeholder 5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-221258"/>
            <a:ext cx="36000" cy="36000"/>
          </a:xfrm>
          <a:custGeom>
            <a:avLst/>
            <a:gdLst>
              <a:gd name="connsiteX0" fmla="*/ 89445 w 360383"/>
              <a:gd name="connsiteY0" fmla="*/ 0 h 360000"/>
              <a:gd name="connsiteX1" fmla="*/ 360383 w 360383"/>
              <a:gd name="connsiteY1" fmla="*/ 0 h 360000"/>
              <a:gd name="connsiteX2" fmla="*/ 360383 w 360383"/>
              <a:gd name="connsiteY2" fmla="*/ 270162 h 360000"/>
              <a:gd name="connsiteX3" fmla="*/ 270938 w 360383"/>
              <a:gd name="connsiteY3" fmla="*/ 360000 h 360000"/>
              <a:gd name="connsiteX4" fmla="*/ 270938 w 360383"/>
              <a:gd name="connsiteY4" fmla="*/ 89189 h 360000"/>
              <a:gd name="connsiteX5" fmla="*/ 0 w 360383"/>
              <a:gd name="connsiteY5" fmla="*/ 89189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383" h="360000">
                <a:moveTo>
                  <a:pt x="89445" y="0"/>
                </a:moveTo>
                <a:lnTo>
                  <a:pt x="360383" y="0"/>
                </a:lnTo>
                <a:lnTo>
                  <a:pt x="360383" y="270162"/>
                </a:lnTo>
                <a:lnTo>
                  <a:pt x="270938" y="360000"/>
                </a:lnTo>
                <a:lnTo>
                  <a:pt x="270938" y="89189"/>
                </a:lnTo>
                <a:lnTo>
                  <a:pt x="0" y="8918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 </a:t>
            </a:r>
            <a:endParaRPr lang="en-GB"/>
          </a:p>
        </p:txBody>
      </p:sp>
      <p:sp>
        <p:nvSpPr>
          <p:cNvPr id="52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352424" y="252000"/>
            <a:ext cx="4428000" cy="895662"/>
          </a:xfrm>
          <a:solidFill>
            <a:schemeClr val="bg1">
              <a:alpha val="90000"/>
            </a:schemeClr>
          </a:solidFill>
        </p:spPr>
        <p:txBody>
          <a:bodyPr wrap="square" lIns="100800" tIns="126000" rIns="100800" bIns="12600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823884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with Header 2, blue logo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1A60FDAF-2E2A-4DA0-8DD2-47A74AF447BE}"/>
              </a:ext>
            </a:extLst>
          </p:cNvPr>
          <p:cNvGrpSpPr/>
          <p:nvPr userDrawn="1"/>
        </p:nvGrpSpPr>
        <p:grpSpPr>
          <a:xfrm>
            <a:off x="0" y="-900"/>
            <a:ext cx="9143999" cy="5144400"/>
            <a:chOff x="0" y="-900"/>
            <a:chExt cx="9143999" cy="514440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8E43AB6-E6D1-46DC-A70B-48BB5EDF21A9}"/>
                </a:ext>
              </a:extLst>
            </p:cNvPr>
            <p:cNvSpPr/>
            <p:nvPr userDrawn="1"/>
          </p:nvSpPr>
          <p:spPr>
            <a:xfrm>
              <a:off x="7013813" y="-900"/>
              <a:ext cx="1782000" cy="5144400"/>
            </a:xfrm>
            <a:prstGeom prst="rect">
              <a:avLst/>
            </a:prstGeom>
            <a:gradFill flip="none" rotWithShape="1">
              <a:gsLst>
                <a:gs pos="0">
                  <a:srgbClr val="005192"/>
                </a:gs>
                <a:gs pos="100000">
                  <a:srgbClr val="008BC5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err="1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15AF137-4104-445B-B8FB-3289791F9597}"/>
                </a:ext>
              </a:extLst>
            </p:cNvPr>
            <p:cNvSpPr/>
            <p:nvPr userDrawn="1"/>
          </p:nvSpPr>
          <p:spPr>
            <a:xfrm>
              <a:off x="0" y="-900"/>
              <a:ext cx="7013813" cy="5144400"/>
            </a:xfrm>
            <a:prstGeom prst="rect">
              <a:avLst/>
            </a:prstGeom>
            <a:solidFill>
              <a:srgbClr val="005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err="1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D833FBBB-C288-4B0E-B6EE-393E96D68D45}"/>
                </a:ext>
              </a:extLst>
            </p:cNvPr>
            <p:cNvSpPr/>
            <p:nvPr userDrawn="1"/>
          </p:nvSpPr>
          <p:spPr>
            <a:xfrm>
              <a:off x="8795812" y="-900"/>
              <a:ext cx="348187" cy="5144400"/>
            </a:xfrm>
            <a:prstGeom prst="rect">
              <a:avLst/>
            </a:prstGeom>
            <a:solidFill>
              <a:srgbClr val="008B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err="1"/>
            </a:p>
          </p:txBody>
        </p:sp>
      </p:grp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06DAAE6B-5F0D-4447-A4AB-D66BB539F8E1}"/>
              </a:ext>
            </a:extLst>
          </p:cNvPr>
          <p:cNvSpPr/>
          <p:nvPr userDrawn="1"/>
        </p:nvSpPr>
        <p:spPr>
          <a:xfrm>
            <a:off x="-1803401" y="-1816100"/>
            <a:ext cx="12750800" cy="8775700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  <p:sp>
        <p:nvSpPr>
          <p:cNvPr id="57" name="Picture Placeholder 56"/>
          <p:cNvSpPr>
            <a:spLocks noGrp="1"/>
          </p:cNvSpPr>
          <p:nvPr>
            <p:ph type="pic" sz="quarter" idx="17"/>
          </p:nvPr>
        </p:nvSpPr>
        <p:spPr bwMode="gray">
          <a:xfrm>
            <a:off x="1" y="-450"/>
            <a:ext cx="9143999" cy="5144400"/>
          </a:xfrm>
          <a:custGeom>
            <a:avLst/>
            <a:gdLst>
              <a:gd name="connsiteX0" fmla="*/ 8398022 w 9143999"/>
              <a:gd name="connsiteY0" fmla="*/ 345388 h 5144400"/>
              <a:gd name="connsiteX1" fmla="*/ 8441303 w 9143999"/>
              <a:gd name="connsiteY1" fmla="*/ 397979 h 5144400"/>
              <a:gd name="connsiteX2" fmla="*/ 8391839 w 9143999"/>
              <a:gd name="connsiteY2" fmla="*/ 466038 h 5144400"/>
              <a:gd name="connsiteX3" fmla="*/ 8382565 w 9143999"/>
              <a:gd name="connsiteY3" fmla="*/ 466038 h 5144400"/>
              <a:gd name="connsiteX4" fmla="*/ 8382565 w 9143999"/>
              <a:gd name="connsiteY4" fmla="*/ 348482 h 5144400"/>
              <a:gd name="connsiteX5" fmla="*/ 8398022 w 9143999"/>
              <a:gd name="connsiteY5" fmla="*/ 345388 h 5144400"/>
              <a:gd name="connsiteX6" fmla="*/ 8194405 w 9143999"/>
              <a:gd name="connsiteY6" fmla="*/ 339038 h 5144400"/>
              <a:gd name="connsiteX7" fmla="*/ 8222228 w 9143999"/>
              <a:gd name="connsiteY7" fmla="*/ 404046 h 5144400"/>
              <a:gd name="connsiteX8" fmla="*/ 8194405 w 9143999"/>
              <a:gd name="connsiteY8" fmla="*/ 462863 h 5144400"/>
              <a:gd name="connsiteX9" fmla="*/ 8163490 w 9143999"/>
              <a:gd name="connsiteY9" fmla="*/ 400951 h 5144400"/>
              <a:gd name="connsiteX10" fmla="*/ 8194405 w 9143999"/>
              <a:gd name="connsiteY10" fmla="*/ 339038 h 5144400"/>
              <a:gd name="connsiteX11" fmla="*/ 7739627 w 9143999"/>
              <a:gd name="connsiteY11" fmla="*/ 339038 h 5144400"/>
              <a:gd name="connsiteX12" fmla="*/ 7768202 w 9143999"/>
              <a:gd name="connsiteY12" fmla="*/ 404046 h 5144400"/>
              <a:gd name="connsiteX13" fmla="*/ 7739627 w 9143999"/>
              <a:gd name="connsiteY13" fmla="*/ 462863 h 5144400"/>
              <a:gd name="connsiteX14" fmla="*/ 7711052 w 9143999"/>
              <a:gd name="connsiteY14" fmla="*/ 400951 h 5144400"/>
              <a:gd name="connsiteX15" fmla="*/ 7739627 w 9143999"/>
              <a:gd name="connsiteY15" fmla="*/ 339038 h 5144400"/>
              <a:gd name="connsiteX16" fmla="*/ 8619102 w 9143999"/>
              <a:gd name="connsiteY16" fmla="*/ 335863 h 5144400"/>
              <a:gd name="connsiteX17" fmla="*/ 8650852 w 9143999"/>
              <a:gd name="connsiteY17" fmla="*/ 378725 h 5144400"/>
              <a:gd name="connsiteX18" fmla="*/ 8590527 w 9143999"/>
              <a:gd name="connsiteY18" fmla="*/ 378725 h 5144400"/>
              <a:gd name="connsiteX19" fmla="*/ 8619102 w 9143999"/>
              <a:gd name="connsiteY19" fmla="*/ 335863 h 5144400"/>
              <a:gd name="connsiteX20" fmla="*/ 7121217 w 9143999"/>
              <a:gd name="connsiteY20" fmla="*/ 308875 h 5144400"/>
              <a:gd name="connsiteX21" fmla="*/ 7149078 w 9143999"/>
              <a:gd name="connsiteY21" fmla="*/ 410475 h 5144400"/>
              <a:gd name="connsiteX22" fmla="*/ 7087165 w 9143999"/>
              <a:gd name="connsiteY22" fmla="*/ 410475 h 5144400"/>
              <a:gd name="connsiteX23" fmla="*/ 7121217 w 9143999"/>
              <a:gd name="connsiteY23" fmla="*/ 308875 h 5144400"/>
              <a:gd name="connsiteX24" fmla="*/ 7471280 w 9143999"/>
              <a:gd name="connsiteY24" fmla="*/ 305701 h 5144400"/>
              <a:gd name="connsiteX25" fmla="*/ 7471280 w 9143999"/>
              <a:gd name="connsiteY25" fmla="*/ 336410 h 5144400"/>
              <a:gd name="connsiteX26" fmla="*/ 7539787 w 9143999"/>
              <a:gd name="connsiteY26" fmla="*/ 336410 h 5144400"/>
              <a:gd name="connsiteX27" fmla="*/ 7474394 w 9143999"/>
              <a:gd name="connsiteY27" fmla="*/ 465388 h 5144400"/>
              <a:gd name="connsiteX28" fmla="*/ 7471280 w 9143999"/>
              <a:gd name="connsiteY28" fmla="*/ 493026 h 5144400"/>
              <a:gd name="connsiteX29" fmla="*/ 7608294 w 9143999"/>
              <a:gd name="connsiteY29" fmla="*/ 493026 h 5144400"/>
              <a:gd name="connsiteX30" fmla="*/ 7630091 w 9143999"/>
              <a:gd name="connsiteY30" fmla="*/ 471529 h 5144400"/>
              <a:gd name="connsiteX31" fmla="*/ 7630091 w 9143999"/>
              <a:gd name="connsiteY31" fmla="*/ 459246 h 5144400"/>
              <a:gd name="connsiteX32" fmla="*/ 7592724 w 9143999"/>
              <a:gd name="connsiteY32" fmla="*/ 462317 h 5144400"/>
              <a:gd name="connsiteX33" fmla="*/ 7549129 w 9143999"/>
              <a:gd name="connsiteY33" fmla="*/ 462317 h 5144400"/>
              <a:gd name="connsiteX34" fmla="*/ 7626977 w 9143999"/>
              <a:gd name="connsiteY34" fmla="*/ 305701 h 5144400"/>
              <a:gd name="connsiteX35" fmla="*/ 7471280 w 9143999"/>
              <a:gd name="connsiteY35" fmla="*/ 305701 h 5144400"/>
              <a:gd name="connsiteX36" fmla="*/ 8622169 w 9143999"/>
              <a:gd name="connsiteY36" fmla="*/ 305700 h 5144400"/>
              <a:gd name="connsiteX37" fmla="*/ 8525441 w 9143999"/>
              <a:gd name="connsiteY37" fmla="*/ 397827 h 5144400"/>
              <a:gd name="connsiteX38" fmla="*/ 8619049 w 9143999"/>
              <a:gd name="connsiteY38" fmla="*/ 493025 h 5144400"/>
              <a:gd name="connsiteX39" fmla="*/ 8697055 w 9143999"/>
              <a:gd name="connsiteY39" fmla="*/ 434678 h 5144400"/>
              <a:gd name="connsiteX40" fmla="*/ 8644011 w 9143999"/>
              <a:gd name="connsiteY40" fmla="*/ 450033 h 5144400"/>
              <a:gd name="connsiteX41" fmla="*/ 8590966 w 9143999"/>
              <a:gd name="connsiteY41" fmla="*/ 403969 h 5144400"/>
              <a:gd name="connsiteX42" fmla="*/ 8706416 w 9143999"/>
              <a:gd name="connsiteY42" fmla="*/ 403969 h 5144400"/>
              <a:gd name="connsiteX43" fmla="*/ 8706416 w 9143999"/>
              <a:gd name="connsiteY43" fmla="*/ 382473 h 5144400"/>
              <a:gd name="connsiteX44" fmla="*/ 8622169 w 9143999"/>
              <a:gd name="connsiteY44" fmla="*/ 305700 h 5144400"/>
              <a:gd name="connsiteX45" fmla="*/ 8195215 w 9143999"/>
              <a:gd name="connsiteY45" fmla="*/ 305700 h 5144400"/>
              <a:gd name="connsiteX46" fmla="*/ 8098403 w 9143999"/>
              <a:gd name="connsiteY46" fmla="*/ 403969 h 5144400"/>
              <a:gd name="connsiteX47" fmla="*/ 8192092 w 9143999"/>
              <a:gd name="connsiteY47" fmla="*/ 493025 h 5144400"/>
              <a:gd name="connsiteX48" fmla="*/ 8288903 w 9143999"/>
              <a:gd name="connsiteY48" fmla="*/ 394756 h 5144400"/>
              <a:gd name="connsiteX49" fmla="*/ 8195215 w 9143999"/>
              <a:gd name="connsiteY49" fmla="*/ 305700 h 5144400"/>
              <a:gd name="connsiteX50" fmla="*/ 7739629 w 9143999"/>
              <a:gd name="connsiteY50" fmla="*/ 305700 h 5144400"/>
              <a:gd name="connsiteX51" fmla="*/ 7639616 w 9143999"/>
              <a:gd name="connsiteY51" fmla="*/ 403969 h 5144400"/>
              <a:gd name="connsiteX52" fmla="*/ 7739629 w 9143999"/>
              <a:gd name="connsiteY52" fmla="*/ 493025 h 5144400"/>
              <a:gd name="connsiteX53" fmla="*/ 7839641 w 9143999"/>
              <a:gd name="connsiteY53" fmla="*/ 394757 h 5144400"/>
              <a:gd name="connsiteX54" fmla="*/ 7739629 w 9143999"/>
              <a:gd name="connsiteY54" fmla="*/ 305700 h 5144400"/>
              <a:gd name="connsiteX55" fmla="*/ 7102867 w 9143999"/>
              <a:gd name="connsiteY55" fmla="*/ 256489 h 5144400"/>
              <a:gd name="connsiteX56" fmla="*/ 7018903 w 9143999"/>
              <a:gd name="connsiteY56" fmla="*/ 493026 h 5144400"/>
              <a:gd name="connsiteX57" fmla="*/ 7056220 w 9143999"/>
              <a:gd name="connsiteY57" fmla="*/ 493026 h 5144400"/>
              <a:gd name="connsiteX58" fmla="*/ 7077989 w 9143999"/>
              <a:gd name="connsiteY58" fmla="*/ 434659 h 5144400"/>
              <a:gd name="connsiteX59" fmla="*/ 7158843 w 9143999"/>
              <a:gd name="connsiteY59" fmla="*/ 434659 h 5144400"/>
              <a:gd name="connsiteX60" fmla="*/ 7171282 w 9143999"/>
              <a:gd name="connsiteY60" fmla="*/ 471522 h 5144400"/>
              <a:gd name="connsiteX61" fmla="*/ 7196160 w 9143999"/>
              <a:gd name="connsiteY61" fmla="*/ 493026 h 5144400"/>
              <a:gd name="connsiteX62" fmla="*/ 7245916 w 9143999"/>
              <a:gd name="connsiteY62" fmla="*/ 493026 h 5144400"/>
              <a:gd name="connsiteX63" fmla="*/ 7239697 w 9143999"/>
              <a:gd name="connsiteY63" fmla="*/ 477666 h 5144400"/>
              <a:gd name="connsiteX64" fmla="*/ 7180611 w 9143999"/>
              <a:gd name="connsiteY64" fmla="*/ 290280 h 5144400"/>
              <a:gd name="connsiteX65" fmla="*/ 7133965 w 9143999"/>
              <a:gd name="connsiteY65" fmla="*/ 256489 h 5144400"/>
              <a:gd name="connsiteX66" fmla="*/ 7102867 w 9143999"/>
              <a:gd name="connsiteY66" fmla="*/ 256489 h 5144400"/>
              <a:gd name="connsiteX67" fmla="*/ 7866628 w 9143999"/>
              <a:gd name="connsiteY67" fmla="*/ 256488 h 5144400"/>
              <a:gd name="connsiteX68" fmla="*/ 7866628 w 9143999"/>
              <a:gd name="connsiteY68" fmla="*/ 493025 h 5144400"/>
              <a:gd name="connsiteX69" fmla="*/ 7907268 w 9143999"/>
              <a:gd name="connsiteY69" fmla="*/ 493025 h 5144400"/>
              <a:gd name="connsiteX70" fmla="*/ 7907268 w 9143999"/>
              <a:gd name="connsiteY70" fmla="*/ 345574 h 5144400"/>
              <a:gd name="connsiteX71" fmla="*/ 8004179 w 9143999"/>
              <a:gd name="connsiteY71" fmla="*/ 462306 h 5144400"/>
              <a:gd name="connsiteX72" fmla="*/ 8041693 w 9143999"/>
              <a:gd name="connsiteY72" fmla="*/ 493025 h 5144400"/>
              <a:gd name="connsiteX73" fmla="*/ 8069828 w 9143999"/>
              <a:gd name="connsiteY73" fmla="*/ 493025 h 5144400"/>
              <a:gd name="connsiteX74" fmla="*/ 8069828 w 9143999"/>
              <a:gd name="connsiteY74" fmla="*/ 277992 h 5144400"/>
              <a:gd name="connsiteX75" fmla="*/ 8047945 w 9143999"/>
              <a:gd name="connsiteY75" fmla="*/ 256488 h 5144400"/>
              <a:gd name="connsiteX76" fmla="*/ 8029188 w 9143999"/>
              <a:gd name="connsiteY76" fmla="*/ 256488 h 5144400"/>
              <a:gd name="connsiteX77" fmla="*/ 8029188 w 9143999"/>
              <a:gd name="connsiteY77" fmla="*/ 400868 h 5144400"/>
              <a:gd name="connsiteX78" fmla="*/ 7938530 w 9143999"/>
              <a:gd name="connsiteY78" fmla="*/ 284136 h 5144400"/>
              <a:gd name="connsiteX79" fmla="*/ 7894764 w 9143999"/>
              <a:gd name="connsiteY79" fmla="*/ 256488 h 5144400"/>
              <a:gd name="connsiteX80" fmla="*/ 7866628 w 9143999"/>
              <a:gd name="connsiteY80" fmla="*/ 256488 h 5144400"/>
              <a:gd name="connsiteX81" fmla="*/ 8738166 w 9143999"/>
              <a:gd name="connsiteY81" fmla="*/ 237438 h 5144400"/>
              <a:gd name="connsiteX82" fmla="*/ 8738166 w 9143999"/>
              <a:gd name="connsiteY82" fmla="*/ 493025 h 5144400"/>
              <a:gd name="connsiteX83" fmla="*/ 8793729 w 9143999"/>
              <a:gd name="connsiteY83" fmla="*/ 493025 h 5144400"/>
              <a:gd name="connsiteX84" fmla="*/ 8793729 w 9143999"/>
              <a:gd name="connsiteY84" fmla="*/ 274390 h 5144400"/>
              <a:gd name="connsiteX85" fmla="*/ 8759774 w 9143999"/>
              <a:gd name="connsiteY85" fmla="*/ 237438 h 5144400"/>
              <a:gd name="connsiteX86" fmla="*/ 8738166 w 9143999"/>
              <a:gd name="connsiteY86" fmla="*/ 237438 h 5144400"/>
              <a:gd name="connsiteX87" fmla="*/ 8315891 w 9143999"/>
              <a:gd name="connsiteY87" fmla="*/ 237438 h 5144400"/>
              <a:gd name="connsiteX88" fmla="*/ 8315891 w 9143999"/>
              <a:gd name="connsiteY88" fmla="*/ 493025 h 5144400"/>
              <a:gd name="connsiteX89" fmla="*/ 8393965 w 9143999"/>
              <a:gd name="connsiteY89" fmla="*/ 493025 h 5144400"/>
              <a:gd name="connsiteX90" fmla="*/ 8506391 w 9143999"/>
              <a:gd name="connsiteY90" fmla="*/ 388327 h 5144400"/>
              <a:gd name="connsiteX91" fmla="*/ 8431440 w 9143999"/>
              <a:gd name="connsiteY91" fmla="*/ 308263 h 5144400"/>
              <a:gd name="connsiteX92" fmla="*/ 8381473 w 9143999"/>
              <a:gd name="connsiteY92" fmla="*/ 326740 h 5144400"/>
              <a:gd name="connsiteX93" fmla="*/ 8381473 w 9143999"/>
              <a:gd name="connsiteY93" fmla="*/ 274391 h 5144400"/>
              <a:gd name="connsiteX94" fmla="*/ 8340875 w 9143999"/>
              <a:gd name="connsiteY94" fmla="*/ 237438 h 5144400"/>
              <a:gd name="connsiteX95" fmla="*/ 8315891 w 9143999"/>
              <a:gd name="connsiteY95" fmla="*/ 237438 h 5144400"/>
              <a:gd name="connsiteX96" fmla="*/ 7268141 w 9143999"/>
              <a:gd name="connsiteY96" fmla="*/ 237438 h 5144400"/>
              <a:gd name="connsiteX97" fmla="*/ 7268141 w 9143999"/>
              <a:gd name="connsiteY97" fmla="*/ 493025 h 5144400"/>
              <a:gd name="connsiteX98" fmla="*/ 7333229 w 9143999"/>
              <a:gd name="connsiteY98" fmla="*/ 493025 h 5144400"/>
              <a:gd name="connsiteX99" fmla="*/ 7333229 w 9143999"/>
              <a:gd name="connsiteY99" fmla="*/ 420859 h 5144400"/>
              <a:gd name="connsiteX100" fmla="*/ 7333229 w 9143999"/>
              <a:gd name="connsiteY100" fmla="*/ 394758 h 5144400"/>
              <a:gd name="connsiteX101" fmla="*/ 7354980 w 9143999"/>
              <a:gd name="connsiteY101" fmla="*/ 433815 h 5144400"/>
              <a:gd name="connsiteX102" fmla="*/ 7370852 w 9143999"/>
              <a:gd name="connsiteY102" fmla="*/ 462317 h 5144400"/>
              <a:gd name="connsiteX103" fmla="*/ 7405341 w 9143999"/>
              <a:gd name="connsiteY103" fmla="*/ 493026 h 5144400"/>
              <a:gd name="connsiteX104" fmla="*/ 7458641 w 9143999"/>
              <a:gd name="connsiteY104" fmla="*/ 493026 h 5144400"/>
              <a:gd name="connsiteX105" fmla="*/ 7446100 w 9143999"/>
              <a:gd name="connsiteY105" fmla="*/ 477671 h 5144400"/>
              <a:gd name="connsiteX106" fmla="*/ 7395935 w 9143999"/>
              <a:gd name="connsiteY106" fmla="*/ 379402 h 5144400"/>
              <a:gd name="connsiteX107" fmla="*/ 7455506 w 9143999"/>
              <a:gd name="connsiteY107" fmla="*/ 305701 h 5144400"/>
              <a:gd name="connsiteX108" fmla="*/ 7402205 w 9143999"/>
              <a:gd name="connsiteY108" fmla="*/ 305701 h 5144400"/>
              <a:gd name="connsiteX109" fmla="*/ 7334306 w 9143999"/>
              <a:gd name="connsiteY109" fmla="*/ 393365 h 5144400"/>
              <a:gd name="connsiteX110" fmla="*/ 7333229 w 9143999"/>
              <a:gd name="connsiteY110" fmla="*/ 394755 h 5144400"/>
              <a:gd name="connsiteX111" fmla="*/ 7333229 w 9143999"/>
              <a:gd name="connsiteY111" fmla="*/ 366627 h 5144400"/>
              <a:gd name="connsiteX112" fmla="*/ 7333229 w 9143999"/>
              <a:gd name="connsiteY112" fmla="*/ 274391 h 5144400"/>
              <a:gd name="connsiteX113" fmla="*/ 7289837 w 9143999"/>
              <a:gd name="connsiteY113" fmla="*/ 237438 h 5144400"/>
              <a:gd name="connsiteX114" fmla="*/ 7268141 w 9143999"/>
              <a:gd name="connsiteY114" fmla="*/ 237438 h 5144400"/>
              <a:gd name="connsiteX115" fmla="*/ 8932543 w 9143999"/>
              <a:gd name="connsiteY115" fmla="*/ 0 h 5144400"/>
              <a:gd name="connsiteX116" fmla="*/ 9143999 w 9143999"/>
              <a:gd name="connsiteY116" fmla="*/ 0 h 5144400"/>
              <a:gd name="connsiteX117" fmla="*/ 9143999 w 9143999"/>
              <a:gd name="connsiteY117" fmla="*/ 5144400 h 5144400"/>
              <a:gd name="connsiteX118" fmla="*/ 9027314 w 9143999"/>
              <a:gd name="connsiteY118" fmla="*/ 5144400 h 5144400"/>
              <a:gd name="connsiteX119" fmla="*/ 9009627 w 9143999"/>
              <a:gd name="connsiteY119" fmla="*/ 5144400 h 5144400"/>
              <a:gd name="connsiteX120" fmla="*/ 8932543 w 9143999"/>
              <a:gd name="connsiteY120" fmla="*/ 5144400 h 5144400"/>
              <a:gd name="connsiteX121" fmla="*/ 8853155 w 9143999"/>
              <a:gd name="connsiteY121" fmla="*/ 5144400 h 5144400"/>
              <a:gd name="connsiteX122" fmla="*/ 0 w 9143999"/>
              <a:gd name="connsiteY122" fmla="*/ 5144400 h 5144400"/>
              <a:gd name="connsiteX123" fmla="*/ 0 w 9143999"/>
              <a:gd name="connsiteY123" fmla="*/ 902 h 5144400"/>
              <a:gd name="connsiteX124" fmla="*/ 8853155 w 9143999"/>
              <a:gd name="connsiteY124" fmla="*/ 902 h 5144400"/>
              <a:gd name="connsiteX125" fmla="*/ 8853155 w 9143999"/>
              <a:gd name="connsiteY125" fmla="*/ 900 h 5144400"/>
              <a:gd name="connsiteX126" fmla="*/ 8932543 w 9143999"/>
              <a:gd name="connsiteY126" fmla="*/ 9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5144400">
                <a:moveTo>
                  <a:pt x="8398022" y="345388"/>
                </a:moveTo>
                <a:cubicBezTo>
                  <a:pt x="8419663" y="345388"/>
                  <a:pt x="8441303" y="367043"/>
                  <a:pt x="8441303" y="397979"/>
                </a:cubicBezTo>
                <a:cubicBezTo>
                  <a:pt x="8441303" y="441289"/>
                  <a:pt x="8422754" y="466038"/>
                  <a:pt x="8391839" y="466038"/>
                </a:cubicBezTo>
                <a:cubicBezTo>
                  <a:pt x="8382565" y="466038"/>
                  <a:pt x="8382565" y="466038"/>
                  <a:pt x="8382565" y="466038"/>
                </a:cubicBezTo>
                <a:cubicBezTo>
                  <a:pt x="8382565" y="348482"/>
                  <a:pt x="8382565" y="348482"/>
                  <a:pt x="8382565" y="348482"/>
                </a:cubicBezTo>
                <a:cubicBezTo>
                  <a:pt x="8385656" y="345388"/>
                  <a:pt x="8388748" y="345388"/>
                  <a:pt x="8398022" y="345388"/>
                </a:cubicBezTo>
                <a:close/>
                <a:moveTo>
                  <a:pt x="8194405" y="339038"/>
                </a:moveTo>
                <a:cubicBezTo>
                  <a:pt x="8212954" y="339038"/>
                  <a:pt x="8222228" y="366899"/>
                  <a:pt x="8222228" y="404046"/>
                </a:cubicBezTo>
                <a:cubicBezTo>
                  <a:pt x="8222228" y="441194"/>
                  <a:pt x="8212954" y="462863"/>
                  <a:pt x="8194405" y="462863"/>
                </a:cubicBezTo>
                <a:cubicBezTo>
                  <a:pt x="8172765" y="462863"/>
                  <a:pt x="8163490" y="438098"/>
                  <a:pt x="8163490" y="400951"/>
                </a:cubicBezTo>
                <a:cubicBezTo>
                  <a:pt x="8163490" y="363803"/>
                  <a:pt x="8172765" y="339038"/>
                  <a:pt x="8194405" y="339038"/>
                </a:cubicBezTo>
                <a:close/>
                <a:moveTo>
                  <a:pt x="7739627" y="339038"/>
                </a:moveTo>
                <a:cubicBezTo>
                  <a:pt x="7761852" y="339038"/>
                  <a:pt x="7768202" y="366899"/>
                  <a:pt x="7768202" y="404046"/>
                </a:cubicBezTo>
                <a:cubicBezTo>
                  <a:pt x="7768202" y="441194"/>
                  <a:pt x="7761852" y="462863"/>
                  <a:pt x="7739627" y="462863"/>
                </a:cubicBezTo>
                <a:cubicBezTo>
                  <a:pt x="7717402" y="462863"/>
                  <a:pt x="7711052" y="438098"/>
                  <a:pt x="7711052" y="400951"/>
                </a:cubicBezTo>
                <a:cubicBezTo>
                  <a:pt x="7711052" y="363803"/>
                  <a:pt x="7717402" y="339038"/>
                  <a:pt x="7739627" y="339038"/>
                </a:cubicBezTo>
                <a:close/>
                <a:moveTo>
                  <a:pt x="8619102" y="335863"/>
                </a:moveTo>
                <a:cubicBezTo>
                  <a:pt x="8644502" y="335863"/>
                  <a:pt x="8650852" y="378725"/>
                  <a:pt x="8650852" y="378725"/>
                </a:cubicBezTo>
                <a:cubicBezTo>
                  <a:pt x="8590527" y="378725"/>
                  <a:pt x="8590527" y="378725"/>
                  <a:pt x="8590527" y="378725"/>
                </a:cubicBezTo>
                <a:cubicBezTo>
                  <a:pt x="8590527" y="354233"/>
                  <a:pt x="8600052" y="335863"/>
                  <a:pt x="8619102" y="335863"/>
                </a:cubicBezTo>
                <a:close/>
                <a:moveTo>
                  <a:pt x="7121217" y="308875"/>
                </a:moveTo>
                <a:cubicBezTo>
                  <a:pt x="7149078" y="410475"/>
                  <a:pt x="7149078" y="410475"/>
                  <a:pt x="7149078" y="410475"/>
                </a:cubicBezTo>
                <a:cubicBezTo>
                  <a:pt x="7087165" y="410475"/>
                  <a:pt x="7087165" y="410475"/>
                  <a:pt x="7087165" y="410475"/>
                </a:cubicBezTo>
                <a:cubicBezTo>
                  <a:pt x="7121217" y="308875"/>
                  <a:pt x="7121217" y="308875"/>
                  <a:pt x="7121217" y="308875"/>
                </a:cubicBezTo>
                <a:close/>
                <a:moveTo>
                  <a:pt x="7471280" y="305701"/>
                </a:moveTo>
                <a:cubicBezTo>
                  <a:pt x="7471280" y="336410"/>
                  <a:pt x="7471280" y="336410"/>
                  <a:pt x="7471280" y="336410"/>
                </a:cubicBezTo>
                <a:cubicBezTo>
                  <a:pt x="7539787" y="336410"/>
                  <a:pt x="7539787" y="336410"/>
                  <a:pt x="7539787" y="336410"/>
                </a:cubicBezTo>
                <a:cubicBezTo>
                  <a:pt x="7474394" y="465388"/>
                  <a:pt x="7474394" y="465388"/>
                  <a:pt x="7474394" y="465388"/>
                </a:cubicBezTo>
                <a:cubicBezTo>
                  <a:pt x="7468166" y="477671"/>
                  <a:pt x="7468166" y="486884"/>
                  <a:pt x="7471280" y="493026"/>
                </a:cubicBezTo>
                <a:cubicBezTo>
                  <a:pt x="7608294" y="493026"/>
                  <a:pt x="7608294" y="493026"/>
                  <a:pt x="7608294" y="493026"/>
                </a:cubicBezTo>
                <a:cubicBezTo>
                  <a:pt x="7620749" y="493026"/>
                  <a:pt x="7630091" y="483813"/>
                  <a:pt x="7630091" y="471529"/>
                </a:cubicBezTo>
                <a:cubicBezTo>
                  <a:pt x="7630091" y="459246"/>
                  <a:pt x="7630091" y="459246"/>
                  <a:pt x="7630091" y="459246"/>
                </a:cubicBezTo>
                <a:cubicBezTo>
                  <a:pt x="7623863" y="462317"/>
                  <a:pt x="7614522" y="462317"/>
                  <a:pt x="7592724" y="462317"/>
                </a:cubicBezTo>
                <a:cubicBezTo>
                  <a:pt x="7549129" y="462317"/>
                  <a:pt x="7549129" y="462317"/>
                  <a:pt x="7549129" y="462317"/>
                </a:cubicBezTo>
                <a:cubicBezTo>
                  <a:pt x="7626977" y="305701"/>
                  <a:pt x="7626977" y="305701"/>
                  <a:pt x="7626977" y="305701"/>
                </a:cubicBezTo>
                <a:cubicBezTo>
                  <a:pt x="7471280" y="305701"/>
                  <a:pt x="7471280" y="305701"/>
                  <a:pt x="7471280" y="305701"/>
                </a:cubicBezTo>
                <a:close/>
                <a:moveTo>
                  <a:pt x="8622169" y="305700"/>
                </a:moveTo>
                <a:cubicBezTo>
                  <a:pt x="8566004" y="305700"/>
                  <a:pt x="8525441" y="342551"/>
                  <a:pt x="8525441" y="397827"/>
                </a:cubicBezTo>
                <a:cubicBezTo>
                  <a:pt x="8525441" y="453103"/>
                  <a:pt x="8562884" y="493025"/>
                  <a:pt x="8619049" y="493025"/>
                </a:cubicBezTo>
                <a:cubicBezTo>
                  <a:pt x="8675213" y="493025"/>
                  <a:pt x="8697055" y="462316"/>
                  <a:pt x="8697055" y="434678"/>
                </a:cubicBezTo>
                <a:cubicBezTo>
                  <a:pt x="8684574" y="443891"/>
                  <a:pt x="8665853" y="450033"/>
                  <a:pt x="8644011" y="450033"/>
                </a:cubicBezTo>
                <a:cubicBezTo>
                  <a:pt x="8612808" y="450033"/>
                  <a:pt x="8590966" y="431607"/>
                  <a:pt x="8590966" y="403969"/>
                </a:cubicBezTo>
                <a:cubicBezTo>
                  <a:pt x="8706416" y="403969"/>
                  <a:pt x="8706416" y="403969"/>
                  <a:pt x="8706416" y="403969"/>
                </a:cubicBezTo>
                <a:cubicBezTo>
                  <a:pt x="8706416" y="394756"/>
                  <a:pt x="8706416" y="388615"/>
                  <a:pt x="8706416" y="382473"/>
                </a:cubicBezTo>
                <a:cubicBezTo>
                  <a:pt x="8706416" y="339480"/>
                  <a:pt x="8675213" y="305700"/>
                  <a:pt x="8622169" y="305700"/>
                </a:cubicBezTo>
                <a:close/>
                <a:moveTo>
                  <a:pt x="8195215" y="305700"/>
                </a:moveTo>
                <a:cubicBezTo>
                  <a:pt x="8139002" y="305700"/>
                  <a:pt x="8098403" y="342551"/>
                  <a:pt x="8098403" y="403969"/>
                </a:cubicBezTo>
                <a:cubicBezTo>
                  <a:pt x="8098403" y="456174"/>
                  <a:pt x="8139002" y="493025"/>
                  <a:pt x="8192092" y="493025"/>
                </a:cubicBezTo>
                <a:cubicBezTo>
                  <a:pt x="8245182" y="493025"/>
                  <a:pt x="8288903" y="456174"/>
                  <a:pt x="8288903" y="394756"/>
                </a:cubicBezTo>
                <a:cubicBezTo>
                  <a:pt x="8288903" y="342551"/>
                  <a:pt x="8248305" y="305700"/>
                  <a:pt x="8195215" y="305700"/>
                </a:cubicBezTo>
                <a:close/>
                <a:moveTo>
                  <a:pt x="7739629" y="305700"/>
                </a:moveTo>
                <a:cubicBezTo>
                  <a:pt x="7686497" y="305700"/>
                  <a:pt x="7639616" y="342551"/>
                  <a:pt x="7639616" y="403969"/>
                </a:cubicBezTo>
                <a:cubicBezTo>
                  <a:pt x="7639616" y="456175"/>
                  <a:pt x="7686497" y="493025"/>
                  <a:pt x="7739629" y="493025"/>
                </a:cubicBezTo>
                <a:cubicBezTo>
                  <a:pt x="7792760" y="493025"/>
                  <a:pt x="7839641" y="456175"/>
                  <a:pt x="7839641" y="394757"/>
                </a:cubicBezTo>
                <a:cubicBezTo>
                  <a:pt x="7839641" y="342551"/>
                  <a:pt x="7795886" y="305700"/>
                  <a:pt x="7739629" y="305700"/>
                </a:cubicBezTo>
                <a:close/>
                <a:moveTo>
                  <a:pt x="7102867" y="256489"/>
                </a:moveTo>
                <a:cubicBezTo>
                  <a:pt x="7018903" y="493026"/>
                  <a:pt x="7018903" y="493026"/>
                  <a:pt x="7018903" y="493026"/>
                </a:cubicBezTo>
                <a:cubicBezTo>
                  <a:pt x="7056220" y="493026"/>
                  <a:pt x="7056220" y="493026"/>
                  <a:pt x="7056220" y="493026"/>
                </a:cubicBezTo>
                <a:cubicBezTo>
                  <a:pt x="7077989" y="434659"/>
                  <a:pt x="7077989" y="434659"/>
                  <a:pt x="7077989" y="434659"/>
                </a:cubicBezTo>
                <a:cubicBezTo>
                  <a:pt x="7158843" y="434659"/>
                  <a:pt x="7158843" y="434659"/>
                  <a:pt x="7158843" y="434659"/>
                </a:cubicBezTo>
                <a:cubicBezTo>
                  <a:pt x="7171282" y="471522"/>
                  <a:pt x="7171282" y="471522"/>
                  <a:pt x="7171282" y="471522"/>
                </a:cubicBezTo>
                <a:cubicBezTo>
                  <a:pt x="7177501" y="486882"/>
                  <a:pt x="7180611" y="493026"/>
                  <a:pt x="7196160" y="493026"/>
                </a:cubicBezTo>
                <a:cubicBezTo>
                  <a:pt x="7245916" y="493026"/>
                  <a:pt x="7245916" y="493026"/>
                  <a:pt x="7245916" y="493026"/>
                </a:cubicBezTo>
                <a:cubicBezTo>
                  <a:pt x="7245916" y="489954"/>
                  <a:pt x="7242806" y="486882"/>
                  <a:pt x="7239697" y="477666"/>
                </a:cubicBezTo>
                <a:cubicBezTo>
                  <a:pt x="7180611" y="290280"/>
                  <a:pt x="7180611" y="290280"/>
                  <a:pt x="7180611" y="290280"/>
                </a:cubicBezTo>
                <a:cubicBezTo>
                  <a:pt x="7171282" y="268776"/>
                  <a:pt x="7161953" y="256489"/>
                  <a:pt x="7133965" y="256489"/>
                </a:cubicBezTo>
                <a:cubicBezTo>
                  <a:pt x="7102867" y="256489"/>
                  <a:pt x="7102867" y="256489"/>
                  <a:pt x="7102867" y="256489"/>
                </a:cubicBezTo>
                <a:close/>
                <a:moveTo>
                  <a:pt x="7866628" y="256488"/>
                </a:moveTo>
                <a:cubicBezTo>
                  <a:pt x="7866628" y="493025"/>
                  <a:pt x="7866628" y="493025"/>
                  <a:pt x="7866628" y="493025"/>
                </a:cubicBezTo>
                <a:cubicBezTo>
                  <a:pt x="7907268" y="493025"/>
                  <a:pt x="7907268" y="493025"/>
                  <a:pt x="7907268" y="493025"/>
                </a:cubicBezTo>
                <a:cubicBezTo>
                  <a:pt x="7907268" y="345574"/>
                  <a:pt x="7907268" y="345574"/>
                  <a:pt x="7907268" y="345574"/>
                </a:cubicBezTo>
                <a:cubicBezTo>
                  <a:pt x="8004179" y="462306"/>
                  <a:pt x="8004179" y="462306"/>
                  <a:pt x="8004179" y="462306"/>
                </a:cubicBezTo>
                <a:cubicBezTo>
                  <a:pt x="8016684" y="480738"/>
                  <a:pt x="8026062" y="493025"/>
                  <a:pt x="8041693" y="493025"/>
                </a:cubicBezTo>
                <a:cubicBezTo>
                  <a:pt x="8069828" y="493025"/>
                  <a:pt x="8069828" y="493025"/>
                  <a:pt x="8069828" y="493025"/>
                </a:cubicBezTo>
                <a:cubicBezTo>
                  <a:pt x="8069828" y="277992"/>
                  <a:pt x="8069828" y="277992"/>
                  <a:pt x="8069828" y="277992"/>
                </a:cubicBezTo>
                <a:cubicBezTo>
                  <a:pt x="8069828" y="265704"/>
                  <a:pt x="8060450" y="256488"/>
                  <a:pt x="8047945" y="256488"/>
                </a:cubicBezTo>
                <a:cubicBezTo>
                  <a:pt x="8029188" y="256488"/>
                  <a:pt x="8029188" y="256488"/>
                  <a:pt x="8029188" y="256488"/>
                </a:cubicBezTo>
                <a:cubicBezTo>
                  <a:pt x="8029188" y="400868"/>
                  <a:pt x="8029188" y="400868"/>
                  <a:pt x="8029188" y="400868"/>
                </a:cubicBezTo>
                <a:cubicBezTo>
                  <a:pt x="7938530" y="284136"/>
                  <a:pt x="7938530" y="284136"/>
                  <a:pt x="7938530" y="284136"/>
                </a:cubicBezTo>
                <a:cubicBezTo>
                  <a:pt x="7922899" y="268776"/>
                  <a:pt x="7916647" y="256488"/>
                  <a:pt x="7894764" y="256488"/>
                </a:cubicBezTo>
                <a:cubicBezTo>
                  <a:pt x="7866628" y="256488"/>
                  <a:pt x="7866628" y="256488"/>
                  <a:pt x="7866628" y="256488"/>
                </a:cubicBezTo>
                <a:close/>
                <a:moveTo>
                  <a:pt x="8738166" y="237438"/>
                </a:moveTo>
                <a:cubicBezTo>
                  <a:pt x="8738166" y="493025"/>
                  <a:pt x="8738166" y="493025"/>
                  <a:pt x="8738166" y="493025"/>
                </a:cubicBezTo>
                <a:cubicBezTo>
                  <a:pt x="8793729" y="493025"/>
                  <a:pt x="8793729" y="493025"/>
                  <a:pt x="8793729" y="493025"/>
                </a:cubicBezTo>
                <a:cubicBezTo>
                  <a:pt x="8793729" y="274390"/>
                  <a:pt x="8793729" y="274390"/>
                  <a:pt x="8793729" y="274390"/>
                </a:cubicBezTo>
                <a:cubicBezTo>
                  <a:pt x="8793729" y="252835"/>
                  <a:pt x="8778295" y="237438"/>
                  <a:pt x="8759774" y="237438"/>
                </a:cubicBezTo>
                <a:cubicBezTo>
                  <a:pt x="8738166" y="237438"/>
                  <a:pt x="8738166" y="237438"/>
                  <a:pt x="8738166" y="237438"/>
                </a:cubicBezTo>
                <a:close/>
                <a:moveTo>
                  <a:pt x="8315891" y="237438"/>
                </a:moveTo>
                <a:cubicBezTo>
                  <a:pt x="8315891" y="493025"/>
                  <a:pt x="8315891" y="493025"/>
                  <a:pt x="8315891" y="493025"/>
                </a:cubicBezTo>
                <a:cubicBezTo>
                  <a:pt x="8393965" y="493025"/>
                  <a:pt x="8393965" y="493025"/>
                  <a:pt x="8393965" y="493025"/>
                </a:cubicBezTo>
                <a:cubicBezTo>
                  <a:pt x="8465793" y="493025"/>
                  <a:pt x="8506391" y="456073"/>
                  <a:pt x="8506391" y="388327"/>
                </a:cubicBezTo>
                <a:cubicBezTo>
                  <a:pt x="8506391" y="342136"/>
                  <a:pt x="8475161" y="308263"/>
                  <a:pt x="8431440" y="308263"/>
                </a:cubicBezTo>
                <a:cubicBezTo>
                  <a:pt x="8409580" y="308263"/>
                  <a:pt x="8390842" y="317502"/>
                  <a:pt x="8381473" y="326740"/>
                </a:cubicBezTo>
                <a:cubicBezTo>
                  <a:pt x="8381473" y="274391"/>
                  <a:pt x="8381473" y="274391"/>
                  <a:pt x="8381473" y="274391"/>
                </a:cubicBezTo>
                <a:cubicBezTo>
                  <a:pt x="8381473" y="252835"/>
                  <a:pt x="8362735" y="237438"/>
                  <a:pt x="8340875" y="237438"/>
                </a:cubicBezTo>
                <a:cubicBezTo>
                  <a:pt x="8315891" y="237438"/>
                  <a:pt x="8315891" y="237438"/>
                  <a:pt x="8315891" y="237438"/>
                </a:cubicBezTo>
                <a:close/>
                <a:moveTo>
                  <a:pt x="7268141" y="237438"/>
                </a:moveTo>
                <a:cubicBezTo>
                  <a:pt x="7268141" y="493025"/>
                  <a:pt x="7268141" y="493025"/>
                  <a:pt x="7268141" y="493025"/>
                </a:cubicBezTo>
                <a:cubicBezTo>
                  <a:pt x="7333229" y="493025"/>
                  <a:pt x="7333229" y="493025"/>
                  <a:pt x="7333229" y="493025"/>
                </a:cubicBezTo>
                <a:cubicBezTo>
                  <a:pt x="7333229" y="465696"/>
                  <a:pt x="7333229" y="441783"/>
                  <a:pt x="7333229" y="420859"/>
                </a:cubicBezTo>
                <a:lnTo>
                  <a:pt x="7333229" y="394758"/>
                </a:lnTo>
                <a:lnTo>
                  <a:pt x="7354980" y="433815"/>
                </a:lnTo>
                <a:cubicBezTo>
                  <a:pt x="7370852" y="462317"/>
                  <a:pt x="7370852" y="462317"/>
                  <a:pt x="7370852" y="462317"/>
                </a:cubicBezTo>
                <a:cubicBezTo>
                  <a:pt x="7380258" y="483813"/>
                  <a:pt x="7383393" y="493026"/>
                  <a:pt x="7405341" y="493026"/>
                </a:cubicBezTo>
                <a:cubicBezTo>
                  <a:pt x="7458641" y="493026"/>
                  <a:pt x="7458641" y="493026"/>
                  <a:pt x="7458641" y="493026"/>
                </a:cubicBezTo>
                <a:cubicBezTo>
                  <a:pt x="7455506" y="489955"/>
                  <a:pt x="7452371" y="486884"/>
                  <a:pt x="7446100" y="477671"/>
                </a:cubicBezTo>
                <a:cubicBezTo>
                  <a:pt x="7395935" y="379402"/>
                  <a:pt x="7395935" y="379402"/>
                  <a:pt x="7395935" y="379402"/>
                </a:cubicBezTo>
                <a:cubicBezTo>
                  <a:pt x="7455506" y="305701"/>
                  <a:pt x="7455506" y="305701"/>
                  <a:pt x="7455506" y="305701"/>
                </a:cubicBezTo>
                <a:cubicBezTo>
                  <a:pt x="7402205" y="305701"/>
                  <a:pt x="7402205" y="305701"/>
                  <a:pt x="7402205" y="305701"/>
                </a:cubicBezTo>
                <a:cubicBezTo>
                  <a:pt x="7350473" y="372493"/>
                  <a:pt x="7337539" y="389191"/>
                  <a:pt x="7334306" y="393365"/>
                </a:cubicBezTo>
                <a:lnTo>
                  <a:pt x="7333229" y="394755"/>
                </a:lnTo>
                <a:lnTo>
                  <a:pt x="7333229" y="366627"/>
                </a:lnTo>
                <a:cubicBezTo>
                  <a:pt x="7333229" y="274391"/>
                  <a:pt x="7333229" y="274391"/>
                  <a:pt x="7333229" y="274391"/>
                </a:cubicBezTo>
                <a:cubicBezTo>
                  <a:pt x="7333229" y="252835"/>
                  <a:pt x="7314633" y="237438"/>
                  <a:pt x="7289837" y="237438"/>
                </a:cubicBezTo>
                <a:cubicBezTo>
                  <a:pt x="7268141" y="237438"/>
                  <a:pt x="7268141" y="237438"/>
                  <a:pt x="7268141" y="237438"/>
                </a:cubicBezTo>
                <a:close/>
                <a:moveTo>
                  <a:pt x="8932543" y="0"/>
                </a:moveTo>
                <a:lnTo>
                  <a:pt x="9143999" y="0"/>
                </a:lnTo>
                <a:lnTo>
                  <a:pt x="9143999" y="5144400"/>
                </a:lnTo>
                <a:lnTo>
                  <a:pt x="9027314" y="5144400"/>
                </a:lnTo>
                <a:lnTo>
                  <a:pt x="9009627" y="5144400"/>
                </a:lnTo>
                <a:lnTo>
                  <a:pt x="8932543" y="5144400"/>
                </a:lnTo>
                <a:lnTo>
                  <a:pt x="8853155" y="5144400"/>
                </a:lnTo>
                <a:lnTo>
                  <a:pt x="0" y="5144400"/>
                </a:lnTo>
                <a:lnTo>
                  <a:pt x="0" y="902"/>
                </a:lnTo>
                <a:lnTo>
                  <a:pt x="8853155" y="902"/>
                </a:lnTo>
                <a:lnTo>
                  <a:pt x="8853155" y="900"/>
                </a:lnTo>
                <a:lnTo>
                  <a:pt x="8932543" y="9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oup 27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29" name="Rectangle 28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>
                <a:solidFill>
                  <a:schemeClr val="tx1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>
                  <a:solidFill>
                    <a:schemeClr val="tx1"/>
                  </a:solidFill>
                </a:rPr>
                <a:t>Click</a:t>
              </a:r>
              <a:r>
                <a:rPr lang="en-US" sz="900" b="0" baseline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>
                  <a:solidFill>
                    <a:schemeClr val="tx1"/>
                  </a:solidFill>
                </a:rPr>
              </a:br>
              <a:r>
                <a:rPr lang="en-US" sz="900" b="0" baseline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>
                <a:solidFill>
                  <a:schemeClr val="tx1"/>
                </a:solidFill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38" name="Rectangle 37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err="1"/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40" name="Straight Arrow Connector 39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>
              <a:stCxn id="31" idx="0"/>
              <a:endCxn id="31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>
              <a:stCxn id="31" idx="3"/>
              <a:endCxn id="31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Oval 63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err="1"/>
            </a:p>
          </p:txBody>
        </p:sp>
      </p:grpSp>
      <p:sp>
        <p:nvSpPr>
          <p:cNvPr id="56" name="Text Placeholder 55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-221258"/>
            <a:ext cx="36000" cy="36000"/>
          </a:xfrm>
          <a:custGeom>
            <a:avLst/>
            <a:gdLst>
              <a:gd name="connsiteX0" fmla="*/ 89445 w 360383"/>
              <a:gd name="connsiteY0" fmla="*/ 0 h 360000"/>
              <a:gd name="connsiteX1" fmla="*/ 360383 w 360383"/>
              <a:gd name="connsiteY1" fmla="*/ 0 h 360000"/>
              <a:gd name="connsiteX2" fmla="*/ 360383 w 360383"/>
              <a:gd name="connsiteY2" fmla="*/ 270162 h 360000"/>
              <a:gd name="connsiteX3" fmla="*/ 270938 w 360383"/>
              <a:gd name="connsiteY3" fmla="*/ 360000 h 360000"/>
              <a:gd name="connsiteX4" fmla="*/ 270938 w 360383"/>
              <a:gd name="connsiteY4" fmla="*/ 89189 h 360000"/>
              <a:gd name="connsiteX5" fmla="*/ 0 w 360383"/>
              <a:gd name="connsiteY5" fmla="*/ 89189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383" h="360000">
                <a:moveTo>
                  <a:pt x="89445" y="0"/>
                </a:moveTo>
                <a:lnTo>
                  <a:pt x="360383" y="0"/>
                </a:lnTo>
                <a:lnTo>
                  <a:pt x="360383" y="270162"/>
                </a:lnTo>
                <a:lnTo>
                  <a:pt x="270938" y="360000"/>
                </a:lnTo>
                <a:lnTo>
                  <a:pt x="270938" y="89189"/>
                </a:lnTo>
                <a:lnTo>
                  <a:pt x="0" y="8918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 </a:t>
            </a:r>
            <a:endParaRPr lang="en-GB"/>
          </a:p>
        </p:txBody>
      </p:sp>
      <p:sp>
        <p:nvSpPr>
          <p:cNvPr id="4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2424" y="252000"/>
            <a:ext cx="4428000" cy="895662"/>
          </a:xfrm>
          <a:solidFill>
            <a:schemeClr val="bg1">
              <a:alpha val="90000"/>
            </a:schemeClr>
          </a:solidFill>
        </p:spPr>
        <p:txBody>
          <a:bodyPr wrap="square" lIns="100800" tIns="126000" rIns="100800" bIns="12600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461348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lim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 bwMode="gray">
          <a:xfrm>
            <a:off x="352424" y="974122"/>
            <a:ext cx="6292101" cy="35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 bwMode="gray">
          <a:xfrm>
            <a:off x="6793575" y="974123"/>
            <a:ext cx="2350426" cy="3527999"/>
          </a:xfr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90383" y="4769594"/>
            <a:ext cx="288000" cy="288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663763" y="4769594"/>
            <a:ext cx="2448000" cy="288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r>
              <a:rPr lang="en-US" noProof="0"/>
              <a:t>Business unit | Foo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2F4D4E4-EC74-416E-99DD-BCA3152C3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061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Sli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/>
          <p:cNvSpPr>
            <a:spLocks noGrp="1"/>
          </p:cNvSpPr>
          <p:nvPr>
            <p:ph type="pic" sz="quarter" idx="15"/>
          </p:nvPr>
        </p:nvSpPr>
        <p:spPr bwMode="gray">
          <a:xfrm>
            <a:off x="0" y="974122"/>
            <a:ext cx="6644525" cy="35280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 bwMode="gray">
          <a:xfrm>
            <a:off x="6793575" y="974122"/>
            <a:ext cx="1998000" cy="35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90383" y="4769594"/>
            <a:ext cx="288000" cy="288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663763" y="4769594"/>
            <a:ext cx="2448000" cy="288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/>
          <a:p>
            <a:r>
              <a:rPr lang="en-US" noProof="0"/>
              <a:t>Business unit | Foot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587C2C-ABCA-4658-9504-F54DF4DD3C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02660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AkzoNobel logo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7CA6C25D-B479-48F3-AFA4-5D5152C38BDD}"/>
              </a:ext>
            </a:extLst>
          </p:cNvPr>
          <p:cNvSpPr/>
          <p:nvPr userDrawn="1"/>
        </p:nvSpPr>
        <p:spPr>
          <a:xfrm>
            <a:off x="-1803401" y="-1816100"/>
            <a:ext cx="12750800" cy="8775700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  <p:grpSp>
        <p:nvGrpSpPr>
          <p:cNvPr id="111" name="Group 33"/>
          <p:cNvGrpSpPr>
            <a:grpSpLocks noChangeAspect="1"/>
          </p:cNvGrpSpPr>
          <p:nvPr/>
        </p:nvGrpSpPr>
        <p:grpSpPr bwMode="gray">
          <a:xfrm>
            <a:off x="7014468" y="236463"/>
            <a:ext cx="1779160" cy="2592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112" name="Freeform 111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up 20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22" name="Rectangle 21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>
                <a:solidFill>
                  <a:schemeClr val="tx1"/>
                </a:solidFill>
              </a:endParaRPr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>
                  <a:solidFill>
                    <a:schemeClr val="tx1"/>
                  </a:solidFill>
                </a:rPr>
                <a:t>Click</a:t>
              </a:r>
              <a:r>
                <a:rPr lang="en-US" sz="900" b="0" baseline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>
                  <a:solidFill>
                    <a:schemeClr val="tx1"/>
                  </a:solidFill>
                </a:rPr>
              </a:br>
              <a:r>
                <a:rPr lang="en-US" sz="900" b="0" baseline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>
                <a:solidFill>
                  <a:schemeClr val="tx1"/>
                </a:solidFill>
              </a:endParaRPr>
            </a:p>
          </p:txBody>
        </p:sp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31" name="Picture 30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36" name="Rectangle 35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err="1"/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38" name="Straight Arrow Connector 37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>
              <a:stCxn id="28" idx="0"/>
              <a:endCxn id="28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>
              <a:stCxn id="28" idx="3"/>
              <a:endCxn id="28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Oval 41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err="1"/>
            </a:p>
          </p:txBody>
        </p:sp>
      </p:grpSp>
      <p:sp>
        <p:nvSpPr>
          <p:cNvPr id="45" name="Picture Placeholder 44"/>
          <p:cNvSpPr>
            <a:spLocks noGrp="1"/>
          </p:cNvSpPr>
          <p:nvPr>
            <p:ph type="pic" sz="quarter" idx="17"/>
          </p:nvPr>
        </p:nvSpPr>
        <p:spPr bwMode="gray">
          <a:xfrm>
            <a:off x="1" y="-900"/>
            <a:ext cx="9143999" cy="5144400"/>
          </a:xfrm>
          <a:custGeom>
            <a:avLst/>
            <a:gdLst>
              <a:gd name="connsiteX0" fmla="*/ 8398022 w 9143999"/>
              <a:gd name="connsiteY0" fmla="*/ 345388 h 5144400"/>
              <a:gd name="connsiteX1" fmla="*/ 8441303 w 9143999"/>
              <a:gd name="connsiteY1" fmla="*/ 397979 h 5144400"/>
              <a:gd name="connsiteX2" fmla="*/ 8391839 w 9143999"/>
              <a:gd name="connsiteY2" fmla="*/ 466038 h 5144400"/>
              <a:gd name="connsiteX3" fmla="*/ 8382565 w 9143999"/>
              <a:gd name="connsiteY3" fmla="*/ 466038 h 5144400"/>
              <a:gd name="connsiteX4" fmla="*/ 8382565 w 9143999"/>
              <a:gd name="connsiteY4" fmla="*/ 348482 h 5144400"/>
              <a:gd name="connsiteX5" fmla="*/ 8398022 w 9143999"/>
              <a:gd name="connsiteY5" fmla="*/ 345388 h 5144400"/>
              <a:gd name="connsiteX6" fmla="*/ 8194405 w 9143999"/>
              <a:gd name="connsiteY6" fmla="*/ 339038 h 5144400"/>
              <a:gd name="connsiteX7" fmla="*/ 8222228 w 9143999"/>
              <a:gd name="connsiteY7" fmla="*/ 404046 h 5144400"/>
              <a:gd name="connsiteX8" fmla="*/ 8194405 w 9143999"/>
              <a:gd name="connsiteY8" fmla="*/ 462863 h 5144400"/>
              <a:gd name="connsiteX9" fmla="*/ 8163490 w 9143999"/>
              <a:gd name="connsiteY9" fmla="*/ 400951 h 5144400"/>
              <a:gd name="connsiteX10" fmla="*/ 8194405 w 9143999"/>
              <a:gd name="connsiteY10" fmla="*/ 339038 h 5144400"/>
              <a:gd name="connsiteX11" fmla="*/ 7739627 w 9143999"/>
              <a:gd name="connsiteY11" fmla="*/ 339038 h 5144400"/>
              <a:gd name="connsiteX12" fmla="*/ 7768202 w 9143999"/>
              <a:gd name="connsiteY12" fmla="*/ 404046 h 5144400"/>
              <a:gd name="connsiteX13" fmla="*/ 7739627 w 9143999"/>
              <a:gd name="connsiteY13" fmla="*/ 462863 h 5144400"/>
              <a:gd name="connsiteX14" fmla="*/ 7711052 w 9143999"/>
              <a:gd name="connsiteY14" fmla="*/ 400951 h 5144400"/>
              <a:gd name="connsiteX15" fmla="*/ 7739627 w 9143999"/>
              <a:gd name="connsiteY15" fmla="*/ 339038 h 5144400"/>
              <a:gd name="connsiteX16" fmla="*/ 8619102 w 9143999"/>
              <a:gd name="connsiteY16" fmla="*/ 335863 h 5144400"/>
              <a:gd name="connsiteX17" fmla="*/ 8650852 w 9143999"/>
              <a:gd name="connsiteY17" fmla="*/ 378725 h 5144400"/>
              <a:gd name="connsiteX18" fmla="*/ 8590527 w 9143999"/>
              <a:gd name="connsiteY18" fmla="*/ 378725 h 5144400"/>
              <a:gd name="connsiteX19" fmla="*/ 8619102 w 9143999"/>
              <a:gd name="connsiteY19" fmla="*/ 335863 h 5144400"/>
              <a:gd name="connsiteX20" fmla="*/ 7121217 w 9143999"/>
              <a:gd name="connsiteY20" fmla="*/ 308875 h 5144400"/>
              <a:gd name="connsiteX21" fmla="*/ 7149078 w 9143999"/>
              <a:gd name="connsiteY21" fmla="*/ 410475 h 5144400"/>
              <a:gd name="connsiteX22" fmla="*/ 7087165 w 9143999"/>
              <a:gd name="connsiteY22" fmla="*/ 410475 h 5144400"/>
              <a:gd name="connsiteX23" fmla="*/ 7121217 w 9143999"/>
              <a:gd name="connsiteY23" fmla="*/ 308875 h 5144400"/>
              <a:gd name="connsiteX24" fmla="*/ 7471280 w 9143999"/>
              <a:gd name="connsiteY24" fmla="*/ 305701 h 5144400"/>
              <a:gd name="connsiteX25" fmla="*/ 7471280 w 9143999"/>
              <a:gd name="connsiteY25" fmla="*/ 336410 h 5144400"/>
              <a:gd name="connsiteX26" fmla="*/ 7539787 w 9143999"/>
              <a:gd name="connsiteY26" fmla="*/ 336410 h 5144400"/>
              <a:gd name="connsiteX27" fmla="*/ 7474394 w 9143999"/>
              <a:gd name="connsiteY27" fmla="*/ 465388 h 5144400"/>
              <a:gd name="connsiteX28" fmla="*/ 7471280 w 9143999"/>
              <a:gd name="connsiteY28" fmla="*/ 493026 h 5144400"/>
              <a:gd name="connsiteX29" fmla="*/ 7608294 w 9143999"/>
              <a:gd name="connsiteY29" fmla="*/ 493026 h 5144400"/>
              <a:gd name="connsiteX30" fmla="*/ 7630091 w 9143999"/>
              <a:gd name="connsiteY30" fmla="*/ 471529 h 5144400"/>
              <a:gd name="connsiteX31" fmla="*/ 7630091 w 9143999"/>
              <a:gd name="connsiteY31" fmla="*/ 459246 h 5144400"/>
              <a:gd name="connsiteX32" fmla="*/ 7592724 w 9143999"/>
              <a:gd name="connsiteY32" fmla="*/ 462317 h 5144400"/>
              <a:gd name="connsiteX33" fmla="*/ 7549129 w 9143999"/>
              <a:gd name="connsiteY33" fmla="*/ 462317 h 5144400"/>
              <a:gd name="connsiteX34" fmla="*/ 7626977 w 9143999"/>
              <a:gd name="connsiteY34" fmla="*/ 305701 h 5144400"/>
              <a:gd name="connsiteX35" fmla="*/ 7471280 w 9143999"/>
              <a:gd name="connsiteY35" fmla="*/ 305701 h 5144400"/>
              <a:gd name="connsiteX36" fmla="*/ 8622169 w 9143999"/>
              <a:gd name="connsiteY36" fmla="*/ 305700 h 5144400"/>
              <a:gd name="connsiteX37" fmla="*/ 8525441 w 9143999"/>
              <a:gd name="connsiteY37" fmla="*/ 397827 h 5144400"/>
              <a:gd name="connsiteX38" fmla="*/ 8619049 w 9143999"/>
              <a:gd name="connsiteY38" fmla="*/ 493025 h 5144400"/>
              <a:gd name="connsiteX39" fmla="*/ 8697055 w 9143999"/>
              <a:gd name="connsiteY39" fmla="*/ 434678 h 5144400"/>
              <a:gd name="connsiteX40" fmla="*/ 8644011 w 9143999"/>
              <a:gd name="connsiteY40" fmla="*/ 450033 h 5144400"/>
              <a:gd name="connsiteX41" fmla="*/ 8590966 w 9143999"/>
              <a:gd name="connsiteY41" fmla="*/ 403969 h 5144400"/>
              <a:gd name="connsiteX42" fmla="*/ 8706416 w 9143999"/>
              <a:gd name="connsiteY42" fmla="*/ 403969 h 5144400"/>
              <a:gd name="connsiteX43" fmla="*/ 8706416 w 9143999"/>
              <a:gd name="connsiteY43" fmla="*/ 382473 h 5144400"/>
              <a:gd name="connsiteX44" fmla="*/ 8622169 w 9143999"/>
              <a:gd name="connsiteY44" fmla="*/ 305700 h 5144400"/>
              <a:gd name="connsiteX45" fmla="*/ 8195215 w 9143999"/>
              <a:gd name="connsiteY45" fmla="*/ 305700 h 5144400"/>
              <a:gd name="connsiteX46" fmla="*/ 8098403 w 9143999"/>
              <a:gd name="connsiteY46" fmla="*/ 403969 h 5144400"/>
              <a:gd name="connsiteX47" fmla="*/ 8192092 w 9143999"/>
              <a:gd name="connsiteY47" fmla="*/ 493025 h 5144400"/>
              <a:gd name="connsiteX48" fmla="*/ 8288903 w 9143999"/>
              <a:gd name="connsiteY48" fmla="*/ 394756 h 5144400"/>
              <a:gd name="connsiteX49" fmla="*/ 8195215 w 9143999"/>
              <a:gd name="connsiteY49" fmla="*/ 305700 h 5144400"/>
              <a:gd name="connsiteX50" fmla="*/ 7739629 w 9143999"/>
              <a:gd name="connsiteY50" fmla="*/ 305700 h 5144400"/>
              <a:gd name="connsiteX51" fmla="*/ 7639616 w 9143999"/>
              <a:gd name="connsiteY51" fmla="*/ 403969 h 5144400"/>
              <a:gd name="connsiteX52" fmla="*/ 7739629 w 9143999"/>
              <a:gd name="connsiteY52" fmla="*/ 493025 h 5144400"/>
              <a:gd name="connsiteX53" fmla="*/ 7839641 w 9143999"/>
              <a:gd name="connsiteY53" fmla="*/ 394757 h 5144400"/>
              <a:gd name="connsiteX54" fmla="*/ 7739629 w 9143999"/>
              <a:gd name="connsiteY54" fmla="*/ 305700 h 5144400"/>
              <a:gd name="connsiteX55" fmla="*/ 7102867 w 9143999"/>
              <a:gd name="connsiteY55" fmla="*/ 256489 h 5144400"/>
              <a:gd name="connsiteX56" fmla="*/ 7018903 w 9143999"/>
              <a:gd name="connsiteY56" fmla="*/ 493026 h 5144400"/>
              <a:gd name="connsiteX57" fmla="*/ 7056220 w 9143999"/>
              <a:gd name="connsiteY57" fmla="*/ 493026 h 5144400"/>
              <a:gd name="connsiteX58" fmla="*/ 7077989 w 9143999"/>
              <a:gd name="connsiteY58" fmla="*/ 434659 h 5144400"/>
              <a:gd name="connsiteX59" fmla="*/ 7158843 w 9143999"/>
              <a:gd name="connsiteY59" fmla="*/ 434659 h 5144400"/>
              <a:gd name="connsiteX60" fmla="*/ 7171282 w 9143999"/>
              <a:gd name="connsiteY60" fmla="*/ 471522 h 5144400"/>
              <a:gd name="connsiteX61" fmla="*/ 7196160 w 9143999"/>
              <a:gd name="connsiteY61" fmla="*/ 493026 h 5144400"/>
              <a:gd name="connsiteX62" fmla="*/ 7245916 w 9143999"/>
              <a:gd name="connsiteY62" fmla="*/ 493026 h 5144400"/>
              <a:gd name="connsiteX63" fmla="*/ 7239697 w 9143999"/>
              <a:gd name="connsiteY63" fmla="*/ 477666 h 5144400"/>
              <a:gd name="connsiteX64" fmla="*/ 7180611 w 9143999"/>
              <a:gd name="connsiteY64" fmla="*/ 290280 h 5144400"/>
              <a:gd name="connsiteX65" fmla="*/ 7133965 w 9143999"/>
              <a:gd name="connsiteY65" fmla="*/ 256489 h 5144400"/>
              <a:gd name="connsiteX66" fmla="*/ 7102867 w 9143999"/>
              <a:gd name="connsiteY66" fmla="*/ 256489 h 5144400"/>
              <a:gd name="connsiteX67" fmla="*/ 7866628 w 9143999"/>
              <a:gd name="connsiteY67" fmla="*/ 256488 h 5144400"/>
              <a:gd name="connsiteX68" fmla="*/ 7866628 w 9143999"/>
              <a:gd name="connsiteY68" fmla="*/ 493025 h 5144400"/>
              <a:gd name="connsiteX69" fmla="*/ 7907268 w 9143999"/>
              <a:gd name="connsiteY69" fmla="*/ 493025 h 5144400"/>
              <a:gd name="connsiteX70" fmla="*/ 7907268 w 9143999"/>
              <a:gd name="connsiteY70" fmla="*/ 345574 h 5144400"/>
              <a:gd name="connsiteX71" fmla="*/ 8004179 w 9143999"/>
              <a:gd name="connsiteY71" fmla="*/ 462306 h 5144400"/>
              <a:gd name="connsiteX72" fmla="*/ 8041693 w 9143999"/>
              <a:gd name="connsiteY72" fmla="*/ 493025 h 5144400"/>
              <a:gd name="connsiteX73" fmla="*/ 8069828 w 9143999"/>
              <a:gd name="connsiteY73" fmla="*/ 493025 h 5144400"/>
              <a:gd name="connsiteX74" fmla="*/ 8069828 w 9143999"/>
              <a:gd name="connsiteY74" fmla="*/ 277992 h 5144400"/>
              <a:gd name="connsiteX75" fmla="*/ 8047945 w 9143999"/>
              <a:gd name="connsiteY75" fmla="*/ 256488 h 5144400"/>
              <a:gd name="connsiteX76" fmla="*/ 8029188 w 9143999"/>
              <a:gd name="connsiteY76" fmla="*/ 256488 h 5144400"/>
              <a:gd name="connsiteX77" fmla="*/ 8029188 w 9143999"/>
              <a:gd name="connsiteY77" fmla="*/ 400868 h 5144400"/>
              <a:gd name="connsiteX78" fmla="*/ 7938530 w 9143999"/>
              <a:gd name="connsiteY78" fmla="*/ 284136 h 5144400"/>
              <a:gd name="connsiteX79" fmla="*/ 7894764 w 9143999"/>
              <a:gd name="connsiteY79" fmla="*/ 256488 h 5144400"/>
              <a:gd name="connsiteX80" fmla="*/ 7866628 w 9143999"/>
              <a:gd name="connsiteY80" fmla="*/ 256488 h 5144400"/>
              <a:gd name="connsiteX81" fmla="*/ 8738166 w 9143999"/>
              <a:gd name="connsiteY81" fmla="*/ 237438 h 5144400"/>
              <a:gd name="connsiteX82" fmla="*/ 8738166 w 9143999"/>
              <a:gd name="connsiteY82" fmla="*/ 493025 h 5144400"/>
              <a:gd name="connsiteX83" fmla="*/ 8793729 w 9143999"/>
              <a:gd name="connsiteY83" fmla="*/ 493025 h 5144400"/>
              <a:gd name="connsiteX84" fmla="*/ 8793729 w 9143999"/>
              <a:gd name="connsiteY84" fmla="*/ 274390 h 5144400"/>
              <a:gd name="connsiteX85" fmla="*/ 8759774 w 9143999"/>
              <a:gd name="connsiteY85" fmla="*/ 237438 h 5144400"/>
              <a:gd name="connsiteX86" fmla="*/ 8738166 w 9143999"/>
              <a:gd name="connsiteY86" fmla="*/ 237438 h 5144400"/>
              <a:gd name="connsiteX87" fmla="*/ 8315891 w 9143999"/>
              <a:gd name="connsiteY87" fmla="*/ 237438 h 5144400"/>
              <a:gd name="connsiteX88" fmla="*/ 8315891 w 9143999"/>
              <a:gd name="connsiteY88" fmla="*/ 493025 h 5144400"/>
              <a:gd name="connsiteX89" fmla="*/ 8393965 w 9143999"/>
              <a:gd name="connsiteY89" fmla="*/ 493025 h 5144400"/>
              <a:gd name="connsiteX90" fmla="*/ 8506391 w 9143999"/>
              <a:gd name="connsiteY90" fmla="*/ 388327 h 5144400"/>
              <a:gd name="connsiteX91" fmla="*/ 8431440 w 9143999"/>
              <a:gd name="connsiteY91" fmla="*/ 308263 h 5144400"/>
              <a:gd name="connsiteX92" fmla="*/ 8381473 w 9143999"/>
              <a:gd name="connsiteY92" fmla="*/ 326740 h 5144400"/>
              <a:gd name="connsiteX93" fmla="*/ 8381473 w 9143999"/>
              <a:gd name="connsiteY93" fmla="*/ 274391 h 5144400"/>
              <a:gd name="connsiteX94" fmla="*/ 8340875 w 9143999"/>
              <a:gd name="connsiteY94" fmla="*/ 237438 h 5144400"/>
              <a:gd name="connsiteX95" fmla="*/ 8315891 w 9143999"/>
              <a:gd name="connsiteY95" fmla="*/ 237438 h 5144400"/>
              <a:gd name="connsiteX96" fmla="*/ 7268141 w 9143999"/>
              <a:gd name="connsiteY96" fmla="*/ 237438 h 5144400"/>
              <a:gd name="connsiteX97" fmla="*/ 7268141 w 9143999"/>
              <a:gd name="connsiteY97" fmla="*/ 493025 h 5144400"/>
              <a:gd name="connsiteX98" fmla="*/ 7333229 w 9143999"/>
              <a:gd name="connsiteY98" fmla="*/ 493025 h 5144400"/>
              <a:gd name="connsiteX99" fmla="*/ 7333229 w 9143999"/>
              <a:gd name="connsiteY99" fmla="*/ 420859 h 5144400"/>
              <a:gd name="connsiteX100" fmla="*/ 7333229 w 9143999"/>
              <a:gd name="connsiteY100" fmla="*/ 394758 h 5144400"/>
              <a:gd name="connsiteX101" fmla="*/ 7354980 w 9143999"/>
              <a:gd name="connsiteY101" fmla="*/ 433815 h 5144400"/>
              <a:gd name="connsiteX102" fmla="*/ 7370852 w 9143999"/>
              <a:gd name="connsiteY102" fmla="*/ 462317 h 5144400"/>
              <a:gd name="connsiteX103" fmla="*/ 7405341 w 9143999"/>
              <a:gd name="connsiteY103" fmla="*/ 493026 h 5144400"/>
              <a:gd name="connsiteX104" fmla="*/ 7458641 w 9143999"/>
              <a:gd name="connsiteY104" fmla="*/ 493026 h 5144400"/>
              <a:gd name="connsiteX105" fmla="*/ 7446100 w 9143999"/>
              <a:gd name="connsiteY105" fmla="*/ 477671 h 5144400"/>
              <a:gd name="connsiteX106" fmla="*/ 7395935 w 9143999"/>
              <a:gd name="connsiteY106" fmla="*/ 379402 h 5144400"/>
              <a:gd name="connsiteX107" fmla="*/ 7455506 w 9143999"/>
              <a:gd name="connsiteY107" fmla="*/ 305701 h 5144400"/>
              <a:gd name="connsiteX108" fmla="*/ 7402205 w 9143999"/>
              <a:gd name="connsiteY108" fmla="*/ 305701 h 5144400"/>
              <a:gd name="connsiteX109" fmla="*/ 7334306 w 9143999"/>
              <a:gd name="connsiteY109" fmla="*/ 393365 h 5144400"/>
              <a:gd name="connsiteX110" fmla="*/ 7333229 w 9143999"/>
              <a:gd name="connsiteY110" fmla="*/ 394755 h 5144400"/>
              <a:gd name="connsiteX111" fmla="*/ 7333229 w 9143999"/>
              <a:gd name="connsiteY111" fmla="*/ 366627 h 5144400"/>
              <a:gd name="connsiteX112" fmla="*/ 7333229 w 9143999"/>
              <a:gd name="connsiteY112" fmla="*/ 274391 h 5144400"/>
              <a:gd name="connsiteX113" fmla="*/ 7289837 w 9143999"/>
              <a:gd name="connsiteY113" fmla="*/ 237438 h 5144400"/>
              <a:gd name="connsiteX114" fmla="*/ 7268141 w 9143999"/>
              <a:gd name="connsiteY114" fmla="*/ 237438 h 5144400"/>
              <a:gd name="connsiteX115" fmla="*/ 8932543 w 9143999"/>
              <a:gd name="connsiteY115" fmla="*/ 0 h 5144400"/>
              <a:gd name="connsiteX116" fmla="*/ 9143999 w 9143999"/>
              <a:gd name="connsiteY116" fmla="*/ 0 h 5144400"/>
              <a:gd name="connsiteX117" fmla="*/ 9143999 w 9143999"/>
              <a:gd name="connsiteY117" fmla="*/ 5144400 h 5144400"/>
              <a:gd name="connsiteX118" fmla="*/ 9027314 w 9143999"/>
              <a:gd name="connsiteY118" fmla="*/ 5144400 h 5144400"/>
              <a:gd name="connsiteX119" fmla="*/ 9009627 w 9143999"/>
              <a:gd name="connsiteY119" fmla="*/ 5144400 h 5144400"/>
              <a:gd name="connsiteX120" fmla="*/ 8932543 w 9143999"/>
              <a:gd name="connsiteY120" fmla="*/ 5144400 h 5144400"/>
              <a:gd name="connsiteX121" fmla="*/ 8853155 w 9143999"/>
              <a:gd name="connsiteY121" fmla="*/ 5144400 h 5144400"/>
              <a:gd name="connsiteX122" fmla="*/ 0 w 9143999"/>
              <a:gd name="connsiteY122" fmla="*/ 5144400 h 5144400"/>
              <a:gd name="connsiteX123" fmla="*/ 0 w 9143999"/>
              <a:gd name="connsiteY123" fmla="*/ 902 h 5144400"/>
              <a:gd name="connsiteX124" fmla="*/ 8853155 w 9143999"/>
              <a:gd name="connsiteY124" fmla="*/ 902 h 5144400"/>
              <a:gd name="connsiteX125" fmla="*/ 8853155 w 9143999"/>
              <a:gd name="connsiteY125" fmla="*/ 900 h 5144400"/>
              <a:gd name="connsiteX126" fmla="*/ 8932543 w 9143999"/>
              <a:gd name="connsiteY126" fmla="*/ 9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5144400">
                <a:moveTo>
                  <a:pt x="8398022" y="345388"/>
                </a:moveTo>
                <a:cubicBezTo>
                  <a:pt x="8419663" y="345388"/>
                  <a:pt x="8441303" y="367043"/>
                  <a:pt x="8441303" y="397979"/>
                </a:cubicBezTo>
                <a:cubicBezTo>
                  <a:pt x="8441303" y="441289"/>
                  <a:pt x="8422754" y="466038"/>
                  <a:pt x="8391839" y="466038"/>
                </a:cubicBezTo>
                <a:cubicBezTo>
                  <a:pt x="8382565" y="466038"/>
                  <a:pt x="8382565" y="466038"/>
                  <a:pt x="8382565" y="466038"/>
                </a:cubicBezTo>
                <a:cubicBezTo>
                  <a:pt x="8382565" y="348482"/>
                  <a:pt x="8382565" y="348482"/>
                  <a:pt x="8382565" y="348482"/>
                </a:cubicBezTo>
                <a:cubicBezTo>
                  <a:pt x="8385656" y="345388"/>
                  <a:pt x="8388748" y="345388"/>
                  <a:pt x="8398022" y="345388"/>
                </a:cubicBezTo>
                <a:close/>
                <a:moveTo>
                  <a:pt x="8194405" y="339038"/>
                </a:moveTo>
                <a:cubicBezTo>
                  <a:pt x="8212954" y="339038"/>
                  <a:pt x="8222228" y="366899"/>
                  <a:pt x="8222228" y="404046"/>
                </a:cubicBezTo>
                <a:cubicBezTo>
                  <a:pt x="8222228" y="441194"/>
                  <a:pt x="8212954" y="462863"/>
                  <a:pt x="8194405" y="462863"/>
                </a:cubicBezTo>
                <a:cubicBezTo>
                  <a:pt x="8172765" y="462863"/>
                  <a:pt x="8163490" y="438098"/>
                  <a:pt x="8163490" y="400951"/>
                </a:cubicBezTo>
                <a:cubicBezTo>
                  <a:pt x="8163490" y="363803"/>
                  <a:pt x="8172765" y="339038"/>
                  <a:pt x="8194405" y="339038"/>
                </a:cubicBezTo>
                <a:close/>
                <a:moveTo>
                  <a:pt x="7739627" y="339038"/>
                </a:moveTo>
                <a:cubicBezTo>
                  <a:pt x="7761852" y="339038"/>
                  <a:pt x="7768202" y="366899"/>
                  <a:pt x="7768202" y="404046"/>
                </a:cubicBezTo>
                <a:cubicBezTo>
                  <a:pt x="7768202" y="441194"/>
                  <a:pt x="7761852" y="462863"/>
                  <a:pt x="7739627" y="462863"/>
                </a:cubicBezTo>
                <a:cubicBezTo>
                  <a:pt x="7717402" y="462863"/>
                  <a:pt x="7711052" y="438098"/>
                  <a:pt x="7711052" y="400951"/>
                </a:cubicBezTo>
                <a:cubicBezTo>
                  <a:pt x="7711052" y="363803"/>
                  <a:pt x="7717402" y="339038"/>
                  <a:pt x="7739627" y="339038"/>
                </a:cubicBezTo>
                <a:close/>
                <a:moveTo>
                  <a:pt x="8619102" y="335863"/>
                </a:moveTo>
                <a:cubicBezTo>
                  <a:pt x="8644502" y="335863"/>
                  <a:pt x="8650852" y="378725"/>
                  <a:pt x="8650852" y="378725"/>
                </a:cubicBezTo>
                <a:cubicBezTo>
                  <a:pt x="8590527" y="378725"/>
                  <a:pt x="8590527" y="378725"/>
                  <a:pt x="8590527" y="378725"/>
                </a:cubicBezTo>
                <a:cubicBezTo>
                  <a:pt x="8590527" y="354233"/>
                  <a:pt x="8600052" y="335863"/>
                  <a:pt x="8619102" y="335863"/>
                </a:cubicBezTo>
                <a:close/>
                <a:moveTo>
                  <a:pt x="7121217" y="308875"/>
                </a:moveTo>
                <a:cubicBezTo>
                  <a:pt x="7149078" y="410475"/>
                  <a:pt x="7149078" y="410475"/>
                  <a:pt x="7149078" y="410475"/>
                </a:cubicBezTo>
                <a:cubicBezTo>
                  <a:pt x="7087165" y="410475"/>
                  <a:pt x="7087165" y="410475"/>
                  <a:pt x="7087165" y="410475"/>
                </a:cubicBezTo>
                <a:cubicBezTo>
                  <a:pt x="7121217" y="308875"/>
                  <a:pt x="7121217" y="308875"/>
                  <a:pt x="7121217" y="308875"/>
                </a:cubicBezTo>
                <a:close/>
                <a:moveTo>
                  <a:pt x="7471280" y="305701"/>
                </a:moveTo>
                <a:cubicBezTo>
                  <a:pt x="7471280" y="336410"/>
                  <a:pt x="7471280" y="336410"/>
                  <a:pt x="7471280" y="336410"/>
                </a:cubicBezTo>
                <a:cubicBezTo>
                  <a:pt x="7539787" y="336410"/>
                  <a:pt x="7539787" y="336410"/>
                  <a:pt x="7539787" y="336410"/>
                </a:cubicBezTo>
                <a:cubicBezTo>
                  <a:pt x="7474394" y="465388"/>
                  <a:pt x="7474394" y="465388"/>
                  <a:pt x="7474394" y="465388"/>
                </a:cubicBezTo>
                <a:cubicBezTo>
                  <a:pt x="7468166" y="477671"/>
                  <a:pt x="7468166" y="486884"/>
                  <a:pt x="7471280" y="493026"/>
                </a:cubicBezTo>
                <a:cubicBezTo>
                  <a:pt x="7608294" y="493026"/>
                  <a:pt x="7608294" y="493026"/>
                  <a:pt x="7608294" y="493026"/>
                </a:cubicBezTo>
                <a:cubicBezTo>
                  <a:pt x="7620749" y="493026"/>
                  <a:pt x="7630091" y="483813"/>
                  <a:pt x="7630091" y="471529"/>
                </a:cubicBezTo>
                <a:cubicBezTo>
                  <a:pt x="7630091" y="459246"/>
                  <a:pt x="7630091" y="459246"/>
                  <a:pt x="7630091" y="459246"/>
                </a:cubicBezTo>
                <a:cubicBezTo>
                  <a:pt x="7623863" y="462317"/>
                  <a:pt x="7614522" y="462317"/>
                  <a:pt x="7592724" y="462317"/>
                </a:cubicBezTo>
                <a:cubicBezTo>
                  <a:pt x="7549129" y="462317"/>
                  <a:pt x="7549129" y="462317"/>
                  <a:pt x="7549129" y="462317"/>
                </a:cubicBezTo>
                <a:cubicBezTo>
                  <a:pt x="7626977" y="305701"/>
                  <a:pt x="7626977" y="305701"/>
                  <a:pt x="7626977" y="305701"/>
                </a:cubicBezTo>
                <a:cubicBezTo>
                  <a:pt x="7471280" y="305701"/>
                  <a:pt x="7471280" y="305701"/>
                  <a:pt x="7471280" y="305701"/>
                </a:cubicBezTo>
                <a:close/>
                <a:moveTo>
                  <a:pt x="8622169" y="305700"/>
                </a:moveTo>
                <a:cubicBezTo>
                  <a:pt x="8566004" y="305700"/>
                  <a:pt x="8525441" y="342551"/>
                  <a:pt x="8525441" y="397827"/>
                </a:cubicBezTo>
                <a:cubicBezTo>
                  <a:pt x="8525441" y="453103"/>
                  <a:pt x="8562884" y="493025"/>
                  <a:pt x="8619049" y="493025"/>
                </a:cubicBezTo>
                <a:cubicBezTo>
                  <a:pt x="8675213" y="493025"/>
                  <a:pt x="8697055" y="462316"/>
                  <a:pt x="8697055" y="434678"/>
                </a:cubicBezTo>
                <a:cubicBezTo>
                  <a:pt x="8684574" y="443891"/>
                  <a:pt x="8665853" y="450033"/>
                  <a:pt x="8644011" y="450033"/>
                </a:cubicBezTo>
                <a:cubicBezTo>
                  <a:pt x="8612808" y="450033"/>
                  <a:pt x="8590966" y="431607"/>
                  <a:pt x="8590966" y="403969"/>
                </a:cubicBezTo>
                <a:cubicBezTo>
                  <a:pt x="8706416" y="403969"/>
                  <a:pt x="8706416" y="403969"/>
                  <a:pt x="8706416" y="403969"/>
                </a:cubicBezTo>
                <a:cubicBezTo>
                  <a:pt x="8706416" y="394756"/>
                  <a:pt x="8706416" y="388615"/>
                  <a:pt x="8706416" y="382473"/>
                </a:cubicBezTo>
                <a:cubicBezTo>
                  <a:pt x="8706416" y="339480"/>
                  <a:pt x="8675213" y="305700"/>
                  <a:pt x="8622169" y="305700"/>
                </a:cubicBezTo>
                <a:close/>
                <a:moveTo>
                  <a:pt x="8195215" y="305700"/>
                </a:moveTo>
                <a:cubicBezTo>
                  <a:pt x="8139002" y="305700"/>
                  <a:pt x="8098403" y="342551"/>
                  <a:pt x="8098403" y="403969"/>
                </a:cubicBezTo>
                <a:cubicBezTo>
                  <a:pt x="8098403" y="456174"/>
                  <a:pt x="8139002" y="493025"/>
                  <a:pt x="8192092" y="493025"/>
                </a:cubicBezTo>
                <a:cubicBezTo>
                  <a:pt x="8245182" y="493025"/>
                  <a:pt x="8288903" y="456174"/>
                  <a:pt x="8288903" y="394756"/>
                </a:cubicBezTo>
                <a:cubicBezTo>
                  <a:pt x="8288903" y="342551"/>
                  <a:pt x="8248305" y="305700"/>
                  <a:pt x="8195215" y="305700"/>
                </a:cubicBezTo>
                <a:close/>
                <a:moveTo>
                  <a:pt x="7739629" y="305700"/>
                </a:moveTo>
                <a:cubicBezTo>
                  <a:pt x="7686497" y="305700"/>
                  <a:pt x="7639616" y="342551"/>
                  <a:pt x="7639616" y="403969"/>
                </a:cubicBezTo>
                <a:cubicBezTo>
                  <a:pt x="7639616" y="456175"/>
                  <a:pt x="7686497" y="493025"/>
                  <a:pt x="7739629" y="493025"/>
                </a:cubicBezTo>
                <a:cubicBezTo>
                  <a:pt x="7792760" y="493025"/>
                  <a:pt x="7839641" y="456175"/>
                  <a:pt x="7839641" y="394757"/>
                </a:cubicBezTo>
                <a:cubicBezTo>
                  <a:pt x="7839641" y="342551"/>
                  <a:pt x="7795886" y="305700"/>
                  <a:pt x="7739629" y="305700"/>
                </a:cubicBezTo>
                <a:close/>
                <a:moveTo>
                  <a:pt x="7102867" y="256489"/>
                </a:moveTo>
                <a:cubicBezTo>
                  <a:pt x="7018903" y="493026"/>
                  <a:pt x="7018903" y="493026"/>
                  <a:pt x="7018903" y="493026"/>
                </a:cubicBezTo>
                <a:cubicBezTo>
                  <a:pt x="7056220" y="493026"/>
                  <a:pt x="7056220" y="493026"/>
                  <a:pt x="7056220" y="493026"/>
                </a:cubicBezTo>
                <a:cubicBezTo>
                  <a:pt x="7077989" y="434659"/>
                  <a:pt x="7077989" y="434659"/>
                  <a:pt x="7077989" y="434659"/>
                </a:cubicBezTo>
                <a:cubicBezTo>
                  <a:pt x="7158843" y="434659"/>
                  <a:pt x="7158843" y="434659"/>
                  <a:pt x="7158843" y="434659"/>
                </a:cubicBezTo>
                <a:cubicBezTo>
                  <a:pt x="7171282" y="471522"/>
                  <a:pt x="7171282" y="471522"/>
                  <a:pt x="7171282" y="471522"/>
                </a:cubicBezTo>
                <a:cubicBezTo>
                  <a:pt x="7177501" y="486882"/>
                  <a:pt x="7180611" y="493026"/>
                  <a:pt x="7196160" y="493026"/>
                </a:cubicBezTo>
                <a:cubicBezTo>
                  <a:pt x="7245916" y="493026"/>
                  <a:pt x="7245916" y="493026"/>
                  <a:pt x="7245916" y="493026"/>
                </a:cubicBezTo>
                <a:cubicBezTo>
                  <a:pt x="7245916" y="489954"/>
                  <a:pt x="7242806" y="486882"/>
                  <a:pt x="7239697" y="477666"/>
                </a:cubicBezTo>
                <a:cubicBezTo>
                  <a:pt x="7180611" y="290280"/>
                  <a:pt x="7180611" y="290280"/>
                  <a:pt x="7180611" y="290280"/>
                </a:cubicBezTo>
                <a:cubicBezTo>
                  <a:pt x="7171282" y="268776"/>
                  <a:pt x="7161953" y="256489"/>
                  <a:pt x="7133965" y="256489"/>
                </a:cubicBezTo>
                <a:cubicBezTo>
                  <a:pt x="7102867" y="256489"/>
                  <a:pt x="7102867" y="256489"/>
                  <a:pt x="7102867" y="256489"/>
                </a:cubicBezTo>
                <a:close/>
                <a:moveTo>
                  <a:pt x="7866628" y="256488"/>
                </a:moveTo>
                <a:cubicBezTo>
                  <a:pt x="7866628" y="493025"/>
                  <a:pt x="7866628" y="493025"/>
                  <a:pt x="7866628" y="493025"/>
                </a:cubicBezTo>
                <a:cubicBezTo>
                  <a:pt x="7907268" y="493025"/>
                  <a:pt x="7907268" y="493025"/>
                  <a:pt x="7907268" y="493025"/>
                </a:cubicBezTo>
                <a:cubicBezTo>
                  <a:pt x="7907268" y="345574"/>
                  <a:pt x="7907268" y="345574"/>
                  <a:pt x="7907268" y="345574"/>
                </a:cubicBezTo>
                <a:cubicBezTo>
                  <a:pt x="8004179" y="462306"/>
                  <a:pt x="8004179" y="462306"/>
                  <a:pt x="8004179" y="462306"/>
                </a:cubicBezTo>
                <a:cubicBezTo>
                  <a:pt x="8016684" y="480738"/>
                  <a:pt x="8026062" y="493025"/>
                  <a:pt x="8041693" y="493025"/>
                </a:cubicBezTo>
                <a:cubicBezTo>
                  <a:pt x="8069828" y="493025"/>
                  <a:pt x="8069828" y="493025"/>
                  <a:pt x="8069828" y="493025"/>
                </a:cubicBezTo>
                <a:cubicBezTo>
                  <a:pt x="8069828" y="277992"/>
                  <a:pt x="8069828" y="277992"/>
                  <a:pt x="8069828" y="277992"/>
                </a:cubicBezTo>
                <a:cubicBezTo>
                  <a:pt x="8069828" y="265704"/>
                  <a:pt x="8060450" y="256488"/>
                  <a:pt x="8047945" y="256488"/>
                </a:cubicBezTo>
                <a:cubicBezTo>
                  <a:pt x="8029188" y="256488"/>
                  <a:pt x="8029188" y="256488"/>
                  <a:pt x="8029188" y="256488"/>
                </a:cubicBezTo>
                <a:cubicBezTo>
                  <a:pt x="8029188" y="400868"/>
                  <a:pt x="8029188" y="400868"/>
                  <a:pt x="8029188" y="400868"/>
                </a:cubicBezTo>
                <a:cubicBezTo>
                  <a:pt x="7938530" y="284136"/>
                  <a:pt x="7938530" y="284136"/>
                  <a:pt x="7938530" y="284136"/>
                </a:cubicBezTo>
                <a:cubicBezTo>
                  <a:pt x="7922899" y="268776"/>
                  <a:pt x="7916647" y="256488"/>
                  <a:pt x="7894764" y="256488"/>
                </a:cubicBezTo>
                <a:cubicBezTo>
                  <a:pt x="7866628" y="256488"/>
                  <a:pt x="7866628" y="256488"/>
                  <a:pt x="7866628" y="256488"/>
                </a:cubicBezTo>
                <a:close/>
                <a:moveTo>
                  <a:pt x="8738166" y="237438"/>
                </a:moveTo>
                <a:cubicBezTo>
                  <a:pt x="8738166" y="493025"/>
                  <a:pt x="8738166" y="493025"/>
                  <a:pt x="8738166" y="493025"/>
                </a:cubicBezTo>
                <a:cubicBezTo>
                  <a:pt x="8793729" y="493025"/>
                  <a:pt x="8793729" y="493025"/>
                  <a:pt x="8793729" y="493025"/>
                </a:cubicBezTo>
                <a:cubicBezTo>
                  <a:pt x="8793729" y="274390"/>
                  <a:pt x="8793729" y="274390"/>
                  <a:pt x="8793729" y="274390"/>
                </a:cubicBezTo>
                <a:cubicBezTo>
                  <a:pt x="8793729" y="252835"/>
                  <a:pt x="8778295" y="237438"/>
                  <a:pt x="8759774" y="237438"/>
                </a:cubicBezTo>
                <a:cubicBezTo>
                  <a:pt x="8738166" y="237438"/>
                  <a:pt x="8738166" y="237438"/>
                  <a:pt x="8738166" y="237438"/>
                </a:cubicBezTo>
                <a:close/>
                <a:moveTo>
                  <a:pt x="8315891" y="237438"/>
                </a:moveTo>
                <a:cubicBezTo>
                  <a:pt x="8315891" y="493025"/>
                  <a:pt x="8315891" y="493025"/>
                  <a:pt x="8315891" y="493025"/>
                </a:cubicBezTo>
                <a:cubicBezTo>
                  <a:pt x="8393965" y="493025"/>
                  <a:pt x="8393965" y="493025"/>
                  <a:pt x="8393965" y="493025"/>
                </a:cubicBezTo>
                <a:cubicBezTo>
                  <a:pt x="8465793" y="493025"/>
                  <a:pt x="8506391" y="456073"/>
                  <a:pt x="8506391" y="388327"/>
                </a:cubicBezTo>
                <a:cubicBezTo>
                  <a:pt x="8506391" y="342136"/>
                  <a:pt x="8475161" y="308263"/>
                  <a:pt x="8431440" y="308263"/>
                </a:cubicBezTo>
                <a:cubicBezTo>
                  <a:pt x="8409580" y="308263"/>
                  <a:pt x="8390842" y="317502"/>
                  <a:pt x="8381473" y="326740"/>
                </a:cubicBezTo>
                <a:cubicBezTo>
                  <a:pt x="8381473" y="274391"/>
                  <a:pt x="8381473" y="274391"/>
                  <a:pt x="8381473" y="274391"/>
                </a:cubicBezTo>
                <a:cubicBezTo>
                  <a:pt x="8381473" y="252835"/>
                  <a:pt x="8362735" y="237438"/>
                  <a:pt x="8340875" y="237438"/>
                </a:cubicBezTo>
                <a:cubicBezTo>
                  <a:pt x="8315891" y="237438"/>
                  <a:pt x="8315891" y="237438"/>
                  <a:pt x="8315891" y="237438"/>
                </a:cubicBezTo>
                <a:close/>
                <a:moveTo>
                  <a:pt x="7268141" y="237438"/>
                </a:moveTo>
                <a:cubicBezTo>
                  <a:pt x="7268141" y="493025"/>
                  <a:pt x="7268141" y="493025"/>
                  <a:pt x="7268141" y="493025"/>
                </a:cubicBezTo>
                <a:cubicBezTo>
                  <a:pt x="7333229" y="493025"/>
                  <a:pt x="7333229" y="493025"/>
                  <a:pt x="7333229" y="493025"/>
                </a:cubicBezTo>
                <a:cubicBezTo>
                  <a:pt x="7333229" y="465696"/>
                  <a:pt x="7333229" y="441783"/>
                  <a:pt x="7333229" y="420859"/>
                </a:cubicBezTo>
                <a:lnTo>
                  <a:pt x="7333229" y="394758"/>
                </a:lnTo>
                <a:lnTo>
                  <a:pt x="7354980" y="433815"/>
                </a:lnTo>
                <a:cubicBezTo>
                  <a:pt x="7370852" y="462317"/>
                  <a:pt x="7370852" y="462317"/>
                  <a:pt x="7370852" y="462317"/>
                </a:cubicBezTo>
                <a:cubicBezTo>
                  <a:pt x="7380258" y="483813"/>
                  <a:pt x="7383393" y="493026"/>
                  <a:pt x="7405341" y="493026"/>
                </a:cubicBezTo>
                <a:cubicBezTo>
                  <a:pt x="7458641" y="493026"/>
                  <a:pt x="7458641" y="493026"/>
                  <a:pt x="7458641" y="493026"/>
                </a:cubicBezTo>
                <a:cubicBezTo>
                  <a:pt x="7455506" y="489955"/>
                  <a:pt x="7452371" y="486884"/>
                  <a:pt x="7446100" y="477671"/>
                </a:cubicBezTo>
                <a:cubicBezTo>
                  <a:pt x="7395935" y="379402"/>
                  <a:pt x="7395935" y="379402"/>
                  <a:pt x="7395935" y="379402"/>
                </a:cubicBezTo>
                <a:cubicBezTo>
                  <a:pt x="7455506" y="305701"/>
                  <a:pt x="7455506" y="305701"/>
                  <a:pt x="7455506" y="305701"/>
                </a:cubicBezTo>
                <a:cubicBezTo>
                  <a:pt x="7402205" y="305701"/>
                  <a:pt x="7402205" y="305701"/>
                  <a:pt x="7402205" y="305701"/>
                </a:cubicBezTo>
                <a:cubicBezTo>
                  <a:pt x="7350473" y="372493"/>
                  <a:pt x="7337539" y="389191"/>
                  <a:pt x="7334306" y="393365"/>
                </a:cubicBezTo>
                <a:lnTo>
                  <a:pt x="7333229" y="394755"/>
                </a:lnTo>
                <a:lnTo>
                  <a:pt x="7333229" y="366627"/>
                </a:lnTo>
                <a:cubicBezTo>
                  <a:pt x="7333229" y="274391"/>
                  <a:pt x="7333229" y="274391"/>
                  <a:pt x="7333229" y="274391"/>
                </a:cubicBezTo>
                <a:cubicBezTo>
                  <a:pt x="7333229" y="252835"/>
                  <a:pt x="7314633" y="237438"/>
                  <a:pt x="7289837" y="237438"/>
                </a:cubicBezTo>
                <a:cubicBezTo>
                  <a:pt x="7268141" y="237438"/>
                  <a:pt x="7268141" y="237438"/>
                  <a:pt x="7268141" y="237438"/>
                </a:cubicBezTo>
                <a:close/>
                <a:moveTo>
                  <a:pt x="8932543" y="0"/>
                </a:moveTo>
                <a:lnTo>
                  <a:pt x="9143999" y="0"/>
                </a:lnTo>
                <a:lnTo>
                  <a:pt x="9143999" y="5144400"/>
                </a:lnTo>
                <a:lnTo>
                  <a:pt x="9027314" y="5144400"/>
                </a:lnTo>
                <a:lnTo>
                  <a:pt x="9009627" y="5144400"/>
                </a:lnTo>
                <a:lnTo>
                  <a:pt x="8932543" y="5144400"/>
                </a:lnTo>
                <a:lnTo>
                  <a:pt x="8853155" y="5144400"/>
                </a:lnTo>
                <a:lnTo>
                  <a:pt x="0" y="5144400"/>
                </a:lnTo>
                <a:lnTo>
                  <a:pt x="0" y="902"/>
                </a:lnTo>
                <a:lnTo>
                  <a:pt x="8853155" y="902"/>
                </a:lnTo>
                <a:lnTo>
                  <a:pt x="8853155" y="900"/>
                </a:lnTo>
                <a:lnTo>
                  <a:pt x="8932543" y="9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772151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AkzoNobel logo blue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64885C40-5374-46B3-A40F-72C613D46B8F}"/>
              </a:ext>
            </a:extLst>
          </p:cNvPr>
          <p:cNvGrpSpPr/>
          <p:nvPr userDrawn="1"/>
        </p:nvGrpSpPr>
        <p:grpSpPr>
          <a:xfrm>
            <a:off x="0" y="-900"/>
            <a:ext cx="9143999" cy="5144400"/>
            <a:chOff x="0" y="-900"/>
            <a:chExt cx="9143999" cy="5144400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4E283DB-FC28-4D25-82E5-31FFC0148776}"/>
                </a:ext>
              </a:extLst>
            </p:cNvPr>
            <p:cNvSpPr/>
            <p:nvPr userDrawn="1"/>
          </p:nvSpPr>
          <p:spPr>
            <a:xfrm>
              <a:off x="7013813" y="-900"/>
              <a:ext cx="1782000" cy="5144400"/>
            </a:xfrm>
            <a:prstGeom prst="rect">
              <a:avLst/>
            </a:prstGeom>
            <a:gradFill flip="none" rotWithShape="1">
              <a:gsLst>
                <a:gs pos="0">
                  <a:srgbClr val="005192"/>
                </a:gs>
                <a:gs pos="100000">
                  <a:srgbClr val="008BC5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err="1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F8D9984F-B3AC-4B24-AD07-6157959DC328}"/>
                </a:ext>
              </a:extLst>
            </p:cNvPr>
            <p:cNvSpPr/>
            <p:nvPr userDrawn="1"/>
          </p:nvSpPr>
          <p:spPr>
            <a:xfrm>
              <a:off x="0" y="-900"/>
              <a:ext cx="7013813" cy="5144400"/>
            </a:xfrm>
            <a:prstGeom prst="rect">
              <a:avLst/>
            </a:prstGeom>
            <a:solidFill>
              <a:srgbClr val="005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err="1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F871881-63A4-460E-8A2D-6EFA97CD4F71}"/>
                </a:ext>
              </a:extLst>
            </p:cNvPr>
            <p:cNvSpPr/>
            <p:nvPr userDrawn="1"/>
          </p:nvSpPr>
          <p:spPr>
            <a:xfrm>
              <a:off x="8795812" y="-900"/>
              <a:ext cx="348187" cy="5144400"/>
            </a:xfrm>
            <a:prstGeom prst="rect">
              <a:avLst/>
            </a:prstGeom>
            <a:solidFill>
              <a:srgbClr val="008B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err="1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01E1B99-84EA-4EEE-80C0-5496FBC578FA}"/>
              </a:ext>
            </a:extLst>
          </p:cNvPr>
          <p:cNvSpPr/>
          <p:nvPr userDrawn="1"/>
        </p:nvSpPr>
        <p:spPr>
          <a:xfrm>
            <a:off x="-1803401" y="-1816100"/>
            <a:ext cx="12750800" cy="8775700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  <p:sp>
        <p:nvSpPr>
          <p:cNvPr id="46" name="Picture Placeholder 45"/>
          <p:cNvSpPr>
            <a:spLocks noGrp="1"/>
          </p:cNvSpPr>
          <p:nvPr>
            <p:ph type="pic" sz="quarter" idx="17"/>
          </p:nvPr>
        </p:nvSpPr>
        <p:spPr bwMode="gray">
          <a:xfrm>
            <a:off x="1" y="-450"/>
            <a:ext cx="9143999" cy="5144400"/>
          </a:xfrm>
          <a:custGeom>
            <a:avLst/>
            <a:gdLst>
              <a:gd name="connsiteX0" fmla="*/ 8398022 w 9143999"/>
              <a:gd name="connsiteY0" fmla="*/ 345388 h 5144400"/>
              <a:gd name="connsiteX1" fmla="*/ 8441303 w 9143999"/>
              <a:gd name="connsiteY1" fmla="*/ 397979 h 5144400"/>
              <a:gd name="connsiteX2" fmla="*/ 8391839 w 9143999"/>
              <a:gd name="connsiteY2" fmla="*/ 466038 h 5144400"/>
              <a:gd name="connsiteX3" fmla="*/ 8382565 w 9143999"/>
              <a:gd name="connsiteY3" fmla="*/ 466038 h 5144400"/>
              <a:gd name="connsiteX4" fmla="*/ 8382565 w 9143999"/>
              <a:gd name="connsiteY4" fmla="*/ 348482 h 5144400"/>
              <a:gd name="connsiteX5" fmla="*/ 8398022 w 9143999"/>
              <a:gd name="connsiteY5" fmla="*/ 345388 h 5144400"/>
              <a:gd name="connsiteX6" fmla="*/ 8194405 w 9143999"/>
              <a:gd name="connsiteY6" fmla="*/ 339038 h 5144400"/>
              <a:gd name="connsiteX7" fmla="*/ 8222228 w 9143999"/>
              <a:gd name="connsiteY7" fmla="*/ 404046 h 5144400"/>
              <a:gd name="connsiteX8" fmla="*/ 8194405 w 9143999"/>
              <a:gd name="connsiteY8" fmla="*/ 462863 h 5144400"/>
              <a:gd name="connsiteX9" fmla="*/ 8163490 w 9143999"/>
              <a:gd name="connsiteY9" fmla="*/ 400951 h 5144400"/>
              <a:gd name="connsiteX10" fmla="*/ 8194405 w 9143999"/>
              <a:gd name="connsiteY10" fmla="*/ 339038 h 5144400"/>
              <a:gd name="connsiteX11" fmla="*/ 7739627 w 9143999"/>
              <a:gd name="connsiteY11" fmla="*/ 339038 h 5144400"/>
              <a:gd name="connsiteX12" fmla="*/ 7768202 w 9143999"/>
              <a:gd name="connsiteY12" fmla="*/ 404046 h 5144400"/>
              <a:gd name="connsiteX13" fmla="*/ 7739627 w 9143999"/>
              <a:gd name="connsiteY13" fmla="*/ 462863 h 5144400"/>
              <a:gd name="connsiteX14" fmla="*/ 7711052 w 9143999"/>
              <a:gd name="connsiteY14" fmla="*/ 400951 h 5144400"/>
              <a:gd name="connsiteX15" fmla="*/ 7739627 w 9143999"/>
              <a:gd name="connsiteY15" fmla="*/ 339038 h 5144400"/>
              <a:gd name="connsiteX16" fmla="*/ 8619102 w 9143999"/>
              <a:gd name="connsiteY16" fmla="*/ 335863 h 5144400"/>
              <a:gd name="connsiteX17" fmla="*/ 8650852 w 9143999"/>
              <a:gd name="connsiteY17" fmla="*/ 378725 h 5144400"/>
              <a:gd name="connsiteX18" fmla="*/ 8590527 w 9143999"/>
              <a:gd name="connsiteY18" fmla="*/ 378725 h 5144400"/>
              <a:gd name="connsiteX19" fmla="*/ 8619102 w 9143999"/>
              <a:gd name="connsiteY19" fmla="*/ 335863 h 5144400"/>
              <a:gd name="connsiteX20" fmla="*/ 7121217 w 9143999"/>
              <a:gd name="connsiteY20" fmla="*/ 308875 h 5144400"/>
              <a:gd name="connsiteX21" fmla="*/ 7149078 w 9143999"/>
              <a:gd name="connsiteY21" fmla="*/ 410475 h 5144400"/>
              <a:gd name="connsiteX22" fmla="*/ 7087165 w 9143999"/>
              <a:gd name="connsiteY22" fmla="*/ 410475 h 5144400"/>
              <a:gd name="connsiteX23" fmla="*/ 7121217 w 9143999"/>
              <a:gd name="connsiteY23" fmla="*/ 308875 h 5144400"/>
              <a:gd name="connsiteX24" fmla="*/ 7471280 w 9143999"/>
              <a:gd name="connsiteY24" fmla="*/ 305701 h 5144400"/>
              <a:gd name="connsiteX25" fmla="*/ 7471280 w 9143999"/>
              <a:gd name="connsiteY25" fmla="*/ 336410 h 5144400"/>
              <a:gd name="connsiteX26" fmla="*/ 7539787 w 9143999"/>
              <a:gd name="connsiteY26" fmla="*/ 336410 h 5144400"/>
              <a:gd name="connsiteX27" fmla="*/ 7474394 w 9143999"/>
              <a:gd name="connsiteY27" fmla="*/ 465388 h 5144400"/>
              <a:gd name="connsiteX28" fmla="*/ 7471280 w 9143999"/>
              <a:gd name="connsiteY28" fmla="*/ 493026 h 5144400"/>
              <a:gd name="connsiteX29" fmla="*/ 7608294 w 9143999"/>
              <a:gd name="connsiteY29" fmla="*/ 493026 h 5144400"/>
              <a:gd name="connsiteX30" fmla="*/ 7630091 w 9143999"/>
              <a:gd name="connsiteY30" fmla="*/ 471529 h 5144400"/>
              <a:gd name="connsiteX31" fmla="*/ 7630091 w 9143999"/>
              <a:gd name="connsiteY31" fmla="*/ 459246 h 5144400"/>
              <a:gd name="connsiteX32" fmla="*/ 7592724 w 9143999"/>
              <a:gd name="connsiteY32" fmla="*/ 462317 h 5144400"/>
              <a:gd name="connsiteX33" fmla="*/ 7549129 w 9143999"/>
              <a:gd name="connsiteY33" fmla="*/ 462317 h 5144400"/>
              <a:gd name="connsiteX34" fmla="*/ 7626977 w 9143999"/>
              <a:gd name="connsiteY34" fmla="*/ 305701 h 5144400"/>
              <a:gd name="connsiteX35" fmla="*/ 7471280 w 9143999"/>
              <a:gd name="connsiteY35" fmla="*/ 305701 h 5144400"/>
              <a:gd name="connsiteX36" fmla="*/ 8622169 w 9143999"/>
              <a:gd name="connsiteY36" fmla="*/ 305700 h 5144400"/>
              <a:gd name="connsiteX37" fmla="*/ 8525441 w 9143999"/>
              <a:gd name="connsiteY37" fmla="*/ 397827 h 5144400"/>
              <a:gd name="connsiteX38" fmla="*/ 8619049 w 9143999"/>
              <a:gd name="connsiteY38" fmla="*/ 493025 h 5144400"/>
              <a:gd name="connsiteX39" fmla="*/ 8697055 w 9143999"/>
              <a:gd name="connsiteY39" fmla="*/ 434678 h 5144400"/>
              <a:gd name="connsiteX40" fmla="*/ 8644011 w 9143999"/>
              <a:gd name="connsiteY40" fmla="*/ 450033 h 5144400"/>
              <a:gd name="connsiteX41" fmla="*/ 8590966 w 9143999"/>
              <a:gd name="connsiteY41" fmla="*/ 403969 h 5144400"/>
              <a:gd name="connsiteX42" fmla="*/ 8706416 w 9143999"/>
              <a:gd name="connsiteY42" fmla="*/ 403969 h 5144400"/>
              <a:gd name="connsiteX43" fmla="*/ 8706416 w 9143999"/>
              <a:gd name="connsiteY43" fmla="*/ 382473 h 5144400"/>
              <a:gd name="connsiteX44" fmla="*/ 8622169 w 9143999"/>
              <a:gd name="connsiteY44" fmla="*/ 305700 h 5144400"/>
              <a:gd name="connsiteX45" fmla="*/ 8195215 w 9143999"/>
              <a:gd name="connsiteY45" fmla="*/ 305700 h 5144400"/>
              <a:gd name="connsiteX46" fmla="*/ 8098403 w 9143999"/>
              <a:gd name="connsiteY46" fmla="*/ 403969 h 5144400"/>
              <a:gd name="connsiteX47" fmla="*/ 8192092 w 9143999"/>
              <a:gd name="connsiteY47" fmla="*/ 493025 h 5144400"/>
              <a:gd name="connsiteX48" fmla="*/ 8288903 w 9143999"/>
              <a:gd name="connsiteY48" fmla="*/ 394756 h 5144400"/>
              <a:gd name="connsiteX49" fmla="*/ 8195215 w 9143999"/>
              <a:gd name="connsiteY49" fmla="*/ 305700 h 5144400"/>
              <a:gd name="connsiteX50" fmla="*/ 7739629 w 9143999"/>
              <a:gd name="connsiteY50" fmla="*/ 305700 h 5144400"/>
              <a:gd name="connsiteX51" fmla="*/ 7639616 w 9143999"/>
              <a:gd name="connsiteY51" fmla="*/ 403969 h 5144400"/>
              <a:gd name="connsiteX52" fmla="*/ 7739629 w 9143999"/>
              <a:gd name="connsiteY52" fmla="*/ 493025 h 5144400"/>
              <a:gd name="connsiteX53" fmla="*/ 7839641 w 9143999"/>
              <a:gd name="connsiteY53" fmla="*/ 394757 h 5144400"/>
              <a:gd name="connsiteX54" fmla="*/ 7739629 w 9143999"/>
              <a:gd name="connsiteY54" fmla="*/ 305700 h 5144400"/>
              <a:gd name="connsiteX55" fmla="*/ 7102867 w 9143999"/>
              <a:gd name="connsiteY55" fmla="*/ 256489 h 5144400"/>
              <a:gd name="connsiteX56" fmla="*/ 7018903 w 9143999"/>
              <a:gd name="connsiteY56" fmla="*/ 493026 h 5144400"/>
              <a:gd name="connsiteX57" fmla="*/ 7056220 w 9143999"/>
              <a:gd name="connsiteY57" fmla="*/ 493026 h 5144400"/>
              <a:gd name="connsiteX58" fmla="*/ 7077989 w 9143999"/>
              <a:gd name="connsiteY58" fmla="*/ 434659 h 5144400"/>
              <a:gd name="connsiteX59" fmla="*/ 7158843 w 9143999"/>
              <a:gd name="connsiteY59" fmla="*/ 434659 h 5144400"/>
              <a:gd name="connsiteX60" fmla="*/ 7171282 w 9143999"/>
              <a:gd name="connsiteY60" fmla="*/ 471522 h 5144400"/>
              <a:gd name="connsiteX61" fmla="*/ 7196160 w 9143999"/>
              <a:gd name="connsiteY61" fmla="*/ 493026 h 5144400"/>
              <a:gd name="connsiteX62" fmla="*/ 7245916 w 9143999"/>
              <a:gd name="connsiteY62" fmla="*/ 493026 h 5144400"/>
              <a:gd name="connsiteX63" fmla="*/ 7239697 w 9143999"/>
              <a:gd name="connsiteY63" fmla="*/ 477666 h 5144400"/>
              <a:gd name="connsiteX64" fmla="*/ 7180611 w 9143999"/>
              <a:gd name="connsiteY64" fmla="*/ 290280 h 5144400"/>
              <a:gd name="connsiteX65" fmla="*/ 7133965 w 9143999"/>
              <a:gd name="connsiteY65" fmla="*/ 256489 h 5144400"/>
              <a:gd name="connsiteX66" fmla="*/ 7102867 w 9143999"/>
              <a:gd name="connsiteY66" fmla="*/ 256489 h 5144400"/>
              <a:gd name="connsiteX67" fmla="*/ 7866628 w 9143999"/>
              <a:gd name="connsiteY67" fmla="*/ 256488 h 5144400"/>
              <a:gd name="connsiteX68" fmla="*/ 7866628 w 9143999"/>
              <a:gd name="connsiteY68" fmla="*/ 493025 h 5144400"/>
              <a:gd name="connsiteX69" fmla="*/ 7907268 w 9143999"/>
              <a:gd name="connsiteY69" fmla="*/ 493025 h 5144400"/>
              <a:gd name="connsiteX70" fmla="*/ 7907268 w 9143999"/>
              <a:gd name="connsiteY70" fmla="*/ 345574 h 5144400"/>
              <a:gd name="connsiteX71" fmla="*/ 8004179 w 9143999"/>
              <a:gd name="connsiteY71" fmla="*/ 462306 h 5144400"/>
              <a:gd name="connsiteX72" fmla="*/ 8041693 w 9143999"/>
              <a:gd name="connsiteY72" fmla="*/ 493025 h 5144400"/>
              <a:gd name="connsiteX73" fmla="*/ 8069828 w 9143999"/>
              <a:gd name="connsiteY73" fmla="*/ 493025 h 5144400"/>
              <a:gd name="connsiteX74" fmla="*/ 8069828 w 9143999"/>
              <a:gd name="connsiteY74" fmla="*/ 277992 h 5144400"/>
              <a:gd name="connsiteX75" fmla="*/ 8047945 w 9143999"/>
              <a:gd name="connsiteY75" fmla="*/ 256488 h 5144400"/>
              <a:gd name="connsiteX76" fmla="*/ 8029188 w 9143999"/>
              <a:gd name="connsiteY76" fmla="*/ 256488 h 5144400"/>
              <a:gd name="connsiteX77" fmla="*/ 8029188 w 9143999"/>
              <a:gd name="connsiteY77" fmla="*/ 400868 h 5144400"/>
              <a:gd name="connsiteX78" fmla="*/ 7938530 w 9143999"/>
              <a:gd name="connsiteY78" fmla="*/ 284136 h 5144400"/>
              <a:gd name="connsiteX79" fmla="*/ 7894764 w 9143999"/>
              <a:gd name="connsiteY79" fmla="*/ 256488 h 5144400"/>
              <a:gd name="connsiteX80" fmla="*/ 7866628 w 9143999"/>
              <a:gd name="connsiteY80" fmla="*/ 256488 h 5144400"/>
              <a:gd name="connsiteX81" fmla="*/ 8738166 w 9143999"/>
              <a:gd name="connsiteY81" fmla="*/ 237438 h 5144400"/>
              <a:gd name="connsiteX82" fmla="*/ 8738166 w 9143999"/>
              <a:gd name="connsiteY82" fmla="*/ 493025 h 5144400"/>
              <a:gd name="connsiteX83" fmla="*/ 8793729 w 9143999"/>
              <a:gd name="connsiteY83" fmla="*/ 493025 h 5144400"/>
              <a:gd name="connsiteX84" fmla="*/ 8793729 w 9143999"/>
              <a:gd name="connsiteY84" fmla="*/ 274390 h 5144400"/>
              <a:gd name="connsiteX85" fmla="*/ 8759774 w 9143999"/>
              <a:gd name="connsiteY85" fmla="*/ 237438 h 5144400"/>
              <a:gd name="connsiteX86" fmla="*/ 8738166 w 9143999"/>
              <a:gd name="connsiteY86" fmla="*/ 237438 h 5144400"/>
              <a:gd name="connsiteX87" fmla="*/ 8315891 w 9143999"/>
              <a:gd name="connsiteY87" fmla="*/ 237438 h 5144400"/>
              <a:gd name="connsiteX88" fmla="*/ 8315891 w 9143999"/>
              <a:gd name="connsiteY88" fmla="*/ 493025 h 5144400"/>
              <a:gd name="connsiteX89" fmla="*/ 8393965 w 9143999"/>
              <a:gd name="connsiteY89" fmla="*/ 493025 h 5144400"/>
              <a:gd name="connsiteX90" fmla="*/ 8506391 w 9143999"/>
              <a:gd name="connsiteY90" fmla="*/ 388327 h 5144400"/>
              <a:gd name="connsiteX91" fmla="*/ 8431440 w 9143999"/>
              <a:gd name="connsiteY91" fmla="*/ 308263 h 5144400"/>
              <a:gd name="connsiteX92" fmla="*/ 8381473 w 9143999"/>
              <a:gd name="connsiteY92" fmla="*/ 326740 h 5144400"/>
              <a:gd name="connsiteX93" fmla="*/ 8381473 w 9143999"/>
              <a:gd name="connsiteY93" fmla="*/ 274391 h 5144400"/>
              <a:gd name="connsiteX94" fmla="*/ 8340875 w 9143999"/>
              <a:gd name="connsiteY94" fmla="*/ 237438 h 5144400"/>
              <a:gd name="connsiteX95" fmla="*/ 8315891 w 9143999"/>
              <a:gd name="connsiteY95" fmla="*/ 237438 h 5144400"/>
              <a:gd name="connsiteX96" fmla="*/ 7268141 w 9143999"/>
              <a:gd name="connsiteY96" fmla="*/ 237438 h 5144400"/>
              <a:gd name="connsiteX97" fmla="*/ 7268141 w 9143999"/>
              <a:gd name="connsiteY97" fmla="*/ 493025 h 5144400"/>
              <a:gd name="connsiteX98" fmla="*/ 7333229 w 9143999"/>
              <a:gd name="connsiteY98" fmla="*/ 493025 h 5144400"/>
              <a:gd name="connsiteX99" fmla="*/ 7333229 w 9143999"/>
              <a:gd name="connsiteY99" fmla="*/ 420859 h 5144400"/>
              <a:gd name="connsiteX100" fmla="*/ 7333229 w 9143999"/>
              <a:gd name="connsiteY100" fmla="*/ 394758 h 5144400"/>
              <a:gd name="connsiteX101" fmla="*/ 7354980 w 9143999"/>
              <a:gd name="connsiteY101" fmla="*/ 433815 h 5144400"/>
              <a:gd name="connsiteX102" fmla="*/ 7370852 w 9143999"/>
              <a:gd name="connsiteY102" fmla="*/ 462317 h 5144400"/>
              <a:gd name="connsiteX103" fmla="*/ 7405341 w 9143999"/>
              <a:gd name="connsiteY103" fmla="*/ 493026 h 5144400"/>
              <a:gd name="connsiteX104" fmla="*/ 7458641 w 9143999"/>
              <a:gd name="connsiteY104" fmla="*/ 493026 h 5144400"/>
              <a:gd name="connsiteX105" fmla="*/ 7446100 w 9143999"/>
              <a:gd name="connsiteY105" fmla="*/ 477671 h 5144400"/>
              <a:gd name="connsiteX106" fmla="*/ 7395935 w 9143999"/>
              <a:gd name="connsiteY106" fmla="*/ 379402 h 5144400"/>
              <a:gd name="connsiteX107" fmla="*/ 7455506 w 9143999"/>
              <a:gd name="connsiteY107" fmla="*/ 305701 h 5144400"/>
              <a:gd name="connsiteX108" fmla="*/ 7402205 w 9143999"/>
              <a:gd name="connsiteY108" fmla="*/ 305701 h 5144400"/>
              <a:gd name="connsiteX109" fmla="*/ 7334306 w 9143999"/>
              <a:gd name="connsiteY109" fmla="*/ 393365 h 5144400"/>
              <a:gd name="connsiteX110" fmla="*/ 7333229 w 9143999"/>
              <a:gd name="connsiteY110" fmla="*/ 394755 h 5144400"/>
              <a:gd name="connsiteX111" fmla="*/ 7333229 w 9143999"/>
              <a:gd name="connsiteY111" fmla="*/ 366627 h 5144400"/>
              <a:gd name="connsiteX112" fmla="*/ 7333229 w 9143999"/>
              <a:gd name="connsiteY112" fmla="*/ 274391 h 5144400"/>
              <a:gd name="connsiteX113" fmla="*/ 7289837 w 9143999"/>
              <a:gd name="connsiteY113" fmla="*/ 237438 h 5144400"/>
              <a:gd name="connsiteX114" fmla="*/ 7268141 w 9143999"/>
              <a:gd name="connsiteY114" fmla="*/ 237438 h 5144400"/>
              <a:gd name="connsiteX115" fmla="*/ 8932543 w 9143999"/>
              <a:gd name="connsiteY115" fmla="*/ 0 h 5144400"/>
              <a:gd name="connsiteX116" fmla="*/ 9143999 w 9143999"/>
              <a:gd name="connsiteY116" fmla="*/ 0 h 5144400"/>
              <a:gd name="connsiteX117" fmla="*/ 9143999 w 9143999"/>
              <a:gd name="connsiteY117" fmla="*/ 5144400 h 5144400"/>
              <a:gd name="connsiteX118" fmla="*/ 9027314 w 9143999"/>
              <a:gd name="connsiteY118" fmla="*/ 5144400 h 5144400"/>
              <a:gd name="connsiteX119" fmla="*/ 9009627 w 9143999"/>
              <a:gd name="connsiteY119" fmla="*/ 5144400 h 5144400"/>
              <a:gd name="connsiteX120" fmla="*/ 8932543 w 9143999"/>
              <a:gd name="connsiteY120" fmla="*/ 5144400 h 5144400"/>
              <a:gd name="connsiteX121" fmla="*/ 8853155 w 9143999"/>
              <a:gd name="connsiteY121" fmla="*/ 5144400 h 5144400"/>
              <a:gd name="connsiteX122" fmla="*/ 0 w 9143999"/>
              <a:gd name="connsiteY122" fmla="*/ 5144400 h 5144400"/>
              <a:gd name="connsiteX123" fmla="*/ 0 w 9143999"/>
              <a:gd name="connsiteY123" fmla="*/ 902 h 5144400"/>
              <a:gd name="connsiteX124" fmla="*/ 8853155 w 9143999"/>
              <a:gd name="connsiteY124" fmla="*/ 902 h 5144400"/>
              <a:gd name="connsiteX125" fmla="*/ 8853155 w 9143999"/>
              <a:gd name="connsiteY125" fmla="*/ 900 h 5144400"/>
              <a:gd name="connsiteX126" fmla="*/ 8932543 w 9143999"/>
              <a:gd name="connsiteY126" fmla="*/ 9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5144400">
                <a:moveTo>
                  <a:pt x="8398022" y="345388"/>
                </a:moveTo>
                <a:cubicBezTo>
                  <a:pt x="8419663" y="345388"/>
                  <a:pt x="8441303" y="367043"/>
                  <a:pt x="8441303" y="397979"/>
                </a:cubicBezTo>
                <a:cubicBezTo>
                  <a:pt x="8441303" y="441289"/>
                  <a:pt x="8422754" y="466038"/>
                  <a:pt x="8391839" y="466038"/>
                </a:cubicBezTo>
                <a:cubicBezTo>
                  <a:pt x="8382565" y="466038"/>
                  <a:pt x="8382565" y="466038"/>
                  <a:pt x="8382565" y="466038"/>
                </a:cubicBezTo>
                <a:cubicBezTo>
                  <a:pt x="8382565" y="348482"/>
                  <a:pt x="8382565" y="348482"/>
                  <a:pt x="8382565" y="348482"/>
                </a:cubicBezTo>
                <a:cubicBezTo>
                  <a:pt x="8385656" y="345388"/>
                  <a:pt x="8388748" y="345388"/>
                  <a:pt x="8398022" y="345388"/>
                </a:cubicBezTo>
                <a:close/>
                <a:moveTo>
                  <a:pt x="8194405" y="339038"/>
                </a:moveTo>
                <a:cubicBezTo>
                  <a:pt x="8212954" y="339038"/>
                  <a:pt x="8222228" y="366899"/>
                  <a:pt x="8222228" y="404046"/>
                </a:cubicBezTo>
                <a:cubicBezTo>
                  <a:pt x="8222228" y="441194"/>
                  <a:pt x="8212954" y="462863"/>
                  <a:pt x="8194405" y="462863"/>
                </a:cubicBezTo>
                <a:cubicBezTo>
                  <a:pt x="8172765" y="462863"/>
                  <a:pt x="8163490" y="438098"/>
                  <a:pt x="8163490" y="400951"/>
                </a:cubicBezTo>
                <a:cubicBezTo>
                  <a:pt x="8163490" y="363803"/>
                  <a:pt x="8172765" y="339038"/>
                  <a:pt x="8194405" y="339038"/>
                </a:cubicBezTo>
                <a:close/>
                <a:moveTo>
                  <a:pt x="7739627" y="339038"/>
                </a:moveTo>
                <a:cubicBezTo>
                  <a:pt x="7761852" y="339038"/>
                  <a:pt x="7768202" y="366899"/>
                  <a:pt x="7768202" y="404046"/>
                </a:cubicBezTo>
                <a:cubicBezTo>
                  <a:pt x="7768202" y="441194"/>
                  <a:pt x="7761852" y="462863"/>
                  <a:pt x="7739627" y="462863"/>
                </a:cubicBezTo>
                <a:cubicBezTo>
                  <a:pt x="7717402" y="462863"/>
                  <a:pt x="7711052" y="438098"/>
                  <a:pt x="7711052" y="400951"/>
                </a:cubicBezTo>
                <a:cubicBezTo>
                  <a:pt x="7711052" y="363803"/>
                  <a:pt x="7717402" y="339038"/>
                  <a:pt x="7739627" y="339038"/>
                </a:cubicBezTo>
                <a:close/>
                <a:moveTo>
                  <a:pt x="8619102" y="335863"/>
                </a:moveTo>
                <a:cubicBezTo>
                  <a:pt x="8644502" y="335863"/>
                  <a:pt x="8650852" y="378725"/>
                  <a:pt x="8650852" y="378725"/>
                </a:cubicBezTo>
                <a:cubicBezTo>
                  <a:pt x="8590527" y="378725"/>
                  <a:pt x="8590527" y="378725"/>
                  <a:pt x="8590527" y="378725"/>
                </a:cubicBezTo>
                <a:cubicBezTo>
                  <a:pt x="8590527" y="354233"/>
                  <a:pt x="8600052" y="335863"/>
                  <a:pt x="8619102" y="335863"/>
                </a:cubicBezTo>
                <a:close/>
                <a:moveTo>
                  <a:pt x="7121217" y="308875"/>
                </a:moveTo>
                <a:cubicBezTo>
                  <a:pt x="7149078" y="410475"/>
                  <a:pt x="7149078" y="410475"/>
                  <a:pt x="7149078" y="410475"/>
                </a:cubicBezTo>
                <a:cubicBezTo>
                  <a:pt x="7087165" y="410475"/>
                  <a:pt x="7087165" y="410475"/>
                  <a:pt x="7087165" y="410475"/>
                </a:cubicBezTo>
                <a:cubicBezTo>
                  <a:pt x="7121217" y="308875"/>
                  <a:pt x="7121217" y="308875"/>
                  <a:pt x="7121217" y="308875"/>
                </a:cubicBezTo>
                <a:close/>
                <a:moveTo>
                  <a:pt x="7471280" y="305701"/>
                </a:moveTo>
                <a:cubicBezTo>
                  <a:pt x="7471280" y="336410"/>
                  <a:pt x="7471280" y="336410"/>
                  <a:pt x="7471280" y="336410"/>
                </a:cubicBezTo>
                <a:cubicBezTo>
                  <a:pt x="7539787" y="336410"/>
                  <a:pt x="7539787" y="336410"/>
                  <a:pt x="7539787" y="336410"/>
                </a:cubicBezTo>
                <a:cubicBezTo>
                  <a:pt x="7474394" y="465388"/>
                  <a:pt x="7474394" y="465388"/>
                  <a:pt x="7474394" y="465388"/>
                </a:cubicBezTo>
                <a:cubicBezTo>
                  <a:pt x="7468166" y="477671"/>
                  <a:pt x="7468166" y="486884"/>
                  <a:pt x="7471280" y="493026"/>
                </a:cubicBezTo>
                <a:cubicBezTo>
                  <a:pt x="7608294" y="493026"/>
                  <a:pt x="7608294" y="493026"/>
                  <a:pt x="7608294" y="493026"/>
                </a:cubicBezTo>
                <a:cubicBezTo>
                  <a:pt x="7620749" y="493026"/>
                  <a:pt x="7630091" y="483813"/>
                  <a:pt x="7630091" y="471529"/>
                </a:cubicBezTo>
                <a:cubicBezTo>
                  <a:pt x="7630091" y="459246"/>
                  <a:pt x="7630091" y="459246"/>
                  <a:pt x="7630091" y="459246"/>
                </a:cubicBezTo>
                <a:cubicBezTo>
                  <a:pt x="7623863" y="462317"/>
                  <a:pt x="7614522" y="462317"/>
                  <a:pt x="7592724" y="462317"/>
                </a:cubicBezTo>
                <a:cubicBezTo>
                  <a:pt x="7549129" y="462317"/>
                  <a:pt x="7549129" y="462317"/>
                  <a:pt x="7549129" y="462317"/>
                </a:cubicBezTo>
                <a:cubicBezTo>
                  <a:pt x="7626977" y="305701"/>
                  <a:pt x="7626977" y="305701"/>
                  <a:pt x="7626977" y="305701"/>
                </a:cubicBezTo>
                <a:cubicBezTo>
                  <a:pt x="7471280" y="305701"/>
                  <a:pt x="7471280" y="305701"/>
                  <a:pt x="7471280" y="305701"/>
                </a:cubicBezTo>
                <a:close/>
                <a:moveTo>
                  <a:pt x="8622169" y="305700"/>
                </a:moveTo>
                <a:cubicBezTo>
                  <a:pt x="8566004" y="305700"/>
                  <a:pt x="8525441" y="342551"/>
                  <a:pt x="8525441" y="397827"/>
                </a:cubicBezTo>
                <a:cubicBezTo>
                  <a:pt x="8525441" y="453103"/>
                  <a:pt x="8562884" y="493025"/>
                  <a:pt x="8619049" y="493025"/>
                </a:cubicBezTo>
                <a:cubicBezTo>
                  <a:pt x="8675213" y="493025"/>
                  <a:pt x="8697055" y="462316"/>
                  <a:pt x="8697055" y="434678"/>
                </a:cubicBezTo>
                <a:cubicBezTo>
                  <a:pt x="8684574" y="443891"/>
                  <a:pt x="8665853" y="450033"/>
                  <a:pt x="8644011" y="450033"/>
                </a:cubicBezTo>
                <a:cubicBezTo>
                  <a:pt x="8612808" y="450033"/>
                  <a:pt x="8590966" y="431607"/>
                  <a:pt x="8590966" y="403969"/>
                </a:cubicBezTo>
                <a:cubicBezTo>
                  <a:pt x="8706416" y="403969"/>
                  <a:pt x="8706416" y="403969"/>
                  <a:pt x="8706416" y="403969"/>
                </a:cubicBezTo>
                <a:cubicBezTo>
                  <a:pt x="8706416" y="394756"/>
                  <a:pt x="8706416" y="388615"/>
                  <a:pt x="8706416" y="382473"/>
                </a:cubicBezTo>
                <a:cubicBezTo>
                  <a:pt x="8706416" y="339480"/>
                  <a:pt x="8675213" y="305700"/>
                  <a:pt x="8622169" y="305700"/>
                </a:cubicBezTo>
                <a:close/>
                <a:moveTo>
                  <a:pt x="8195215" y="305700"/>
                </a:moveTo>
                <a:cubicBezTo>
                  <a:pt x="8139002" y="305700"/>
                  <a:pt x="8098403" y="342551"/>
                  <a:pt x="8098403" y="403969"/>
                </a:cubicBezTo>
                <a:cubicBezTo>
                  <a:pt x="8098403" y="456174"/>
                  <a:pt x="8139002" y="493025"/>
                  <a:pt x="8192092" y="493025"/>
                </a:cubicBezTo>
                <a:cubicBezTo>
                  <a:pt x="8245182" y="493025"/>
                  <a:pt x="8288903" y="456174"/>
                  <a:pt x="8288903" y="394756"/>
                </a:cubicBezTo>
                <a:cubicBezTo>
                  <a:pt x="8288903" y="342551"/>
                  <a:pt x="8248305" y="305700"/>
                  <a:pt x="8195215" y="305700"/>
                </a:cubicBezTo>
                <a:close/>
                <a:moveTo>
                  <a:pt x="7739629" y="305700"/>
                </a:moveTo>
                <a:cubicBezTo>
                  <a:pt x="7686497" y="305700"/>
                  <a:pt x="7639616" y="342551"/>
                  <a:pt x="7639616" y="403969"/>
                </a:cubicBezTo>
                <a:cubicBezTo>
                  <a:pt x="7639616" y="456175"/>
                  <a:pt x="7686497" y="493025"/>
                  <a:pt x="7739629" y="493025"/>
                </a:cubicBezTo>
                <a:cubicBezTo>
                  <a:pt x="7792760" y="493025"/>
                  <a:pt x="7839641" y="456175"/>
                  <a:pt x="7839641" y="394757"/>
                </a:cubicBezTo>
                <a:cubicBezTo>
                  <a:pt x="7839641" y="342551"/>
                  <a:pt x="7795886" y="305700"/>
                  <a:pt x="7739629" y="305700"/>
                </a:cubicBezTo>
                <a:close/>
                <a:moveTo>
                  <a:pt x="7102867" y="256489"/>
                </a:moveTo>
                <a:cubicBezTo>
                  <a:pt x="7018903" y="493026"/>
                  <a:pt x="7018903" y="493026"/>
                  <a:pt x="7018903" y="493026"/>
                </a:cubicBezTo>
                <a:cubicBezTo>
                  <a:pt x="7056220" y="493026"/>
                  <a:pt x="7056220" y="493026"/>
                  <a:pt x="7056220" y="493026"/>
                </a:cubicBezTo>
                <a:cubicBezTo>
                  <a:pt x="7077989" y="434659"/>
                  <a:pt x="7077989" y="434659"/>
                  <a:pt x="7077989" y="434659"/>
                </a:cubicBezTo>
                <a:cubicBezTo>
                  <a:pt x="7158843" y="434659"/>
                  <a:pt x="7158843" y="434659"/>
                  <a:pt x="7158843" y="434659"/>
                </a:cubicBezTo>
                <a:cubicBezTo>
                  <a:pt x="7171282" y="471522"/>
                  <a:pt x="7171282" y="471522"/>
                  <a:pt x="7171282" y="471522"/>
                </a:cubicBezTo>
                <a:cubicBezTo>
                  <a:pt x="7177501" y="486882"/>
                  <a:pt x="7180611" y="493026"/>
                  <a:pt x="7196160" y="493026"/>
                </a:cubicBezTo>
                <a:cubicBezTo>
                  <a:pt x="7245916" y="493026"/>
                  <a:pt x="7245916" y="493026"/>
                  <a:pt x="7245916" y="493026"/>
                </a:cubicBezTo>
                <a:cubicBezTo>
                  <a:pt x="7245916" y="489954"/>
                  <a:pt x="7242806" y="486882"/>
                  <a:pt x="7239697" y="477666"/>
                </a:cubicBezTo>
                <a:cubicBezTo>
                  <a:pt x="7180611" y="290280"/>
                  <a:pt x="7180611" y="290280"/>
                  <a:pt x="7180611" y="290280"/>
                </a:cubicBezTo>
                <a:cubicBezTo>
                  <a:pt x="7171282" y="268776"/>
                  <a:pt x="7161953" y="256489"/>
                  <a:pt x="7133965" y="256489"/>
                </a:cubicBezTo>
                <a:cubicBezTo>
                  <a:pt x="7102867" y="256489"/>
                  <a:pt x="7102867" y="256489"/>
                  <a:pt x="7102867" y="256489"/>
                </a:cubicBezTo>
                <a:close/>
                <a:moveTo>
                  <a:pt x="7866628" y="256488"/>
                </a:moveTo>
                <a:cubicBezTo>
                  <a:pt x="7866628" y="493025"/>
                  <a:pt x="7866628" y="493025"/>
                  <a:pt x="7866628" y="493025"/>
                </a:cubicBezTo>
                <a:cubicBezTo>
                  <a:pt x="7907268" y="493025"/>
                  <a:pt x="7907268" y="493025"/>
                  <a:pt x="7907268" y="493025"/>
                </a:cubicBezTo>
                <a:cubicBezTo>
                  <a:pt x="7907268" y="345574"/>
                  <a:pt x="7907268" y="345574"/>
                  <a:pt x="7907268" y="345574"/>
                </a:cubicBezTo>
                <a:cubicBezTo>
                  <a:pt x="8004179" y="462306"/>
                  <a:pt x="8004179" y="462306"/>
                  <a:pt x="8004179" y="462306"/>
                </a:cubicBezTo>
                <a:cubicBezTo>
                  <a:pt x="8016684" y="480738"/>
                  <a:pt x="8026062" y="493025"/>
                  <a:pt x="8041693" y="493025"/>
                </a:cubicBezTo>
                <a:cubicBezTo>
                  <a:pt x="8069828" y="493025"/>
                  <a:pt x="8069828" y="493025"/>
                  <a:pt x="8069828" y="493025"/>
                </a:cubicBezTo>
                <a:cubicBezTo>
                  <a:pt x="8069828" y="277992"/>
                  <a:pt x="8069828" y="277992"/>
                  <a:pt x="8069828" y="277992"/>
                </a:cubicBezTo>
                <a:cubicBezTo>
                  <a:pt x="8069828" y="265704"/>
                  <a:pt x="8060450" y="256488"/>
                  <a:pt x="8047945" y="256488"/>
                </a:cubicBezTo>
                <a:cubicBezTo>
                  <a:pt x="8029188" y="256488"/>
                  <a:pt x="8029188" y="256488"/>
                  <a:pt x="8029188" y="256488"/>
                </a:cubicBezTo>
                <a:cubicBezTo>
                  <a:pt x="8029188" y="400868"/>
                  <a:pt x="8029188" y="400868"/>
                  <a:pt x="8029188" y="400868"/>
                </a:cubicBezTo>
                <a:cubicBezTo>
                  <a:pt x="7938530" y="284136"/>
                  <a:pt x="7938530" y="284136"/>
                  <a:pt x="7938530" y="284136"/>
                </a:cubicBezTo>
                <a:cubicBezTo>
                  <a:pt x="7922899" y="268776"/>
                  <a:pt x="7916647" y="256488"/>
                  <a:pt x="7894764" y="256488"/>
                </a:cubicBezTo>
                <a:cubicBezTo>
                  <a:pt x="7866628" y="256488"/>
                  <a:pt x="7866628" y="256488"/>
                  <a:pt x="7866628" y="256488"/>
                </a:cubicBezTo>
                <a:close/>
                <a:moveTo>
                  <a:pt x="8738166" y="237438"/>
                </a:moveTo>
                <a:cubicBezTo>
                  <a:pt x="8738166" y="493025"/>
                  <a:pt x="8738166" y="493025"/>
                  <a:pt x="8738166" y="493025"/>
                </a:cubicBezTo>
                <a:cubicBezTo>
                  <a:pt x="8793729" y="493025"/>
                  <a:pt x="8793729" y="493025"/>
                  <a:pt x="8793729" y="493025"/>
                </a:cubicBezTo>
                <a:cubicBezTo>
                  <a:pt x="8793729" y="274390"/>
                  <a:pt x="8793729" y="274390"/>
                  <a:pt x="8793729" y="274390"/>
                </a:cubicBezTo>
                <a:cubicBezTo>
                  <a:pt x="8793729" y="252835"/>
                  <a:pt x="8778295" y="237438"/>
                  <a:pt x="8759774" y="237438"/>
                </a:cubicBezTo>
                <a:cubicBezTo>
                  <a:pt x="8738166" y="237438"/>
                  <a:pt x="8738166" y="237438"/>
                  <a:pt x="8738166" y="237438"/>
                </a:cubicBezTo>
                <a:close/>
                <a:moveTo>
                  <a:pt x="8315891" y="237438"/>
                </a:moveTo>
                <a:cubicBezTo>
                  <a:pt x="8315891" y="493025"/>
                  <a:pt x="8315891" y="493025"/>
                  <a:pt x="8315891" y="493025"/>
                </a:cubicBezTo>
                <a:cubicBezTo>
                  <a:pt x="8393965" y="493025"/>
                  <a:pt x="8393965" y="493025"/>
                  <a:pt x="8393965" y="493025"/>
                </a:cubicBezTo>
                <a:cubicBezTo>
                  <a:pt x="8465793" y="493025"/>
                  <a:pt x="8506391" y="456073"/>
                  <a:pt x="8506391" y="388327"/>
                </a:cubicBezTo>
                <a:cubicBezTo>
                  <a:pt x="8506391" y="342136"/>
                  <a:pt x="8475161" y="308263"/>
                  <a:pt x="8431440" y="308263"/>
                </a:cubicBezTo>
                <a:cubicBezTo>
                  <a:pt x="8409580" y="308263"/>
                  <a:pt x="8390842" y="317502"/>
                  <a:pt x="8381473" y="326740"/>
                </a:cubicBezTo>
                <a:cubicBezTo>
                  <a:pt x="8381473" y="274391"/>
                  <a:pt x="8381473" y="274391"/>
                  <a:pt x="8381473" y="274391"/>
                </a:cubicBezTo>
                <a:cubicBezTo>
                  <a:pt x="8381473" y="252835"/>
                  <a:pt x="8362735" y="237438"/>
                  <a:pt x="8340875" y="237438"/>
                </a:cubicBezTo>
                <a:cubicBezTo>
                  <a:pt x="8315891" y="237438"/>
                  <a:pt x="8315891" y="237438"/>
                  <a:pt x="8315891" y="237438"/>
                </a:cubicBezTo>
                <a:close/>
                <a:moveTo>
                  <a:pt x="7268141" y="237438"/>
                </a:moveTo>
                <a:cubicBezTo>
                  <a:pt x="7268141" y="493025"/>
                  <a:pt x="7268141" y="493025"/>
                  <a:pt x="7268141" y="493025"/>
                </a:cubicBezTo>
                <a:cubicBezTo>
                  <a:pt x="7333229" y="493025"/>
                  <a:pt x="7333229" y="493025"/>
                  <a:pt x="7333229" y="493025"/>
                </a:cubicBezTo>
                <a:cubicBezTo>
                  <a:pt x="7333229" y="465696"/>
                  <a:pt x="7333229" y="441783"/>
                  <a:pt x="7333229" y="420859"/>
                </a:cubicBezTo>
                <a:lnTo>
                  <a:pt x="7333229" y="394758"/>
                </a:lnTo>
                <a:lnTo>
                  <a:pt x="7354980" y="433815"/>
                </a:lnTo>
                <a:cubicBezTo>
                  <a:pt x="7370852" y="462317"/>
                  <a:pt x="7370852" y="462317"/>
                  <a:pt x="7370852" y="462317"/>
                </a:cubicBezTo>
                <a:cubicBezTo>
                  <a:pt x="7380258" y="483813"/>
                  <a:pt x="7383393" y="493026"/>
                  <a:pt x="7405341" y="493026"/>
                </a:cubicBezTo>
                <a:cubicBezTo>
                  <a:pt x="7458641" y="493026"/>
                  <a:pt x="7458641" y="493026"/>
                  <a:pt x="7458641" y="493026"/>
                </a:cubicBezTo>
                <a:cubicBezTo>
                  <a:pt x="7455506" y="489955"/>
                  <a:pt x="7452371" y="486884"/>
                  <a:pt x="7446100" y="477671"/>
                </a:cubicBezTo>
                <a:cubicBezTo>
                  <a:pt x="7395935" y="379402"/>
                  <a:pt x="7395935" y="379402"/>
                  <a:pt x="7395935" y="379402"/>
                </a:cubicBezTo>
                <a:cubicBezTo>
                  <a:pt x="7455506" y="305701"/>
                  <a:pt x="7455506" y="305701"/>
                  <a:pt x="7455506" y="305701"/>
                </a:cubicBezTo>
                <a:cubicBezTo>
                  <a:pt x="7402205" y="305701"/>
                  <a:pt x="7402205" y="305701"/>
                  <a:pt x="7402205" y="305701"/>
                </a:cubicBezTo>
                <a:cubicBezTo>
                  <a:pt x="7350473" y="372493"/>
                  <a:pt x="7337539" y="389191"/>
                  <a:pt x="7334306" y="393365"/>
                </a:cubicBezTo>
                <a:lnTo>
                  <a:pt x="7333229" y="394755"/>
                </a:lnTo>
                <a:lnTo>
                  <a:pt x="7333229" y="366627"/>
                </a:lnTo>
                <a:cubicBezTo>
                  <a:pt x="7333229" y="274391"/>
                  <a:pt x="7333229" y="274391"/>
                  <a:pt x="7333229" y="274391"/>
                </a:cubicBezTo>
                <a:cubicBezTo>
                  <a:pt x="7333229" y="252835"/>
                  <a:pt x="7314633" y="237438"/>
                  <a:pt x="7289837" y="237438"/>
                </a:cubicBezTo>
                <a:cubicBezTo>
                  <a:pt x="7268141" y="237438"/>
                  <a:pt x="7268141" y="237438"/>
                  <a:pt x="7268141" y="237438"/>
                </a:cubicBezTo>
                <a:close/>
                <a:moveTo>
                  <a:pt x="8932543" y="0"/>
                </a:moveTo>
                <a:lnTo>
                  <a:pt x="9143999" y="0"/>
                </a:lnTo>
                <a:lnTo>
                  <a:pt x="9143999" y="5144400"/>
                </a:lnTo>
                <a:lnTo>
                  <a:pt x="9027314" y="5144400"/>
                </a:lnTo>
                <a:lnTo>
                  <a:pt x="9009627" y="5144400"/>
                </a:lnTo>
                <a:lnTo>
                  <a:pt x="8932543" y="5144400"/>
                </a:lnTo>
                <a:lnTo>
                  <a:pt x="8853155" y="5144400"/>
                </a:lnTo>
                <a:lnTo>
                  <a:pt x="0" y="5144400"/>
                </a:lnTo>
                <a:lnTo>
                  <a:pt x="0" y="902"/>
                </a:lnTo>
                <a:lnTo>
                  <a:pt x="8853155" y="902"/>
                </a:lnTo>
                <a:lnTo>
                  <a:pt x="8853155" y="900"/>
                </a:lnTo>
                <a:lnTo>
                  <a:pt x="8932543" y="9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25" name="Object 2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up 20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22" name="Rectangle 21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>
                <a:solidFill>
                  <a:schemeClr val="tx1"/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>
                  <a:solidFill>
                    <a:schemeClr val="tx1"/>
                  </a:solidFill>
                </a:rPr>
                <a:t>Click</a:t>
              </a:r>
              <a:r>
                <a:rPr lang="en-US" sz="900" b="0" baseline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>
                  <a:solidFill>
                    <a:schemeClr val="tx1"/>
                  </a:solidFill>
                </a:rPr>
              </a:br>
              <a:r>
                <a:rPr lang="en-US" sz="900" b="0" baseline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>
                <a:solidFill>
                  <a:schemeClr val="tx1"/>
                </a:solidFill>
              </a:endParaRPr>
            </a:p>
          </p:txBody>
        </p:sp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34" name="Picture 33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37" name="Rectangle 36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err="1"/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39" name="Straight Arrow Connector 38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>
              <a:stCxn id="30" idx="0"/>
              <a:endCxn id="30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>
              <a:stCxn id="30" idx="3"/>
              <a:endCxn id="30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Arrow Connector 41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Oval 42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err="1"/>
            </a:p>
          </p:txBody>
        </p:sp>
      </p:grpSp>
    </p:spTree>
    <p:extLst>
      <p:ext uri="{BB962C8B-B14F-4D97-AF65-F5344CB8AC3E}">
        <p14:creationId xmlns:p14="http://schemas.microsoft.com/office/powerpoint/2010/main" val="33252461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Header and circles 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E298552D-DD6A-45C6-9ABB-AF43C8710ECB}"/>
              </a:ext>
            </a:extLst>
          </p:cNvPr>
          <p:cNvSpPr/>
          <p:nvPr userDrawn="1"/>
        </p:nvSpPr>
        <p:spPr>
          <a:xfrm>
            <a:off x="-1803401" y="-1816100"/>
            <a:ext cx="12750800" cy="8775700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  <p:grpSp>
        <p:nvGrpSpPr>
          <p:cNvPr id="32" name="Group 33"/>
          <p:cNvGrpSpPr>
            <a:grpSpLocks noChangeAspect="1"/>
          </p:cNvGrpSpPr>
          <p:nvPr/>
        </p:nvGrpSpPr>
        <p:grpSpPr bwMode="gray">
          <a:xfrm>
            <a:off x="7014468" y="236463"/>
            <a:ext cx="1779160" cy="2592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34" name="Freeform 33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7" name="Picture Placeholder 66"/>
          <p:cNvSpPr>
            <a:spLocks noGrp="1"/>
          </p:cNvSpPr>
          <p:nvPr>
            <p:ph type="pic" sz="quarter" idx="17"/>
          </p:nvPr>
        </p:nvSpPr>
        <p:spPr bwMode="gray">
          <a:xfrm>
            <a:off x="1" y="-900"/>
            <a:ext cx="9143999" cy="5144400"/>
          </a:xfrm>
          <a:custGeom>
            <a:avLst/>
            <a:gdLst>
              <a:gd name="connsiteX0" fmla="*/ 8398022 w 9143999"/>
              <a:gd name="connsiteY0" fmla="*/ 345388 h 5144400"/>
              <a:gd name="connsiteX1" fmla="*/ 8441303 w 9143999"/>
              <a:gd name="connsiteY1" fmla="*/ 397979 h 5144400"/>
              <a:gd name="connsiteX2" fmla="*/ 8391839 w 9143999"/>
              <a:gd name="connsiteY2" fmla="*/ 466038 h 5144400"/>
              <a:gd name="connsiteX3" fmla="*/ 8382565 w 9143999"/>
              <a:gd name="connsiteY3" fmla="*/ 466038 h 5144400"/>
              <a:gd name="connsiteX4" fmla="*/ 8382565 w 9143999"/>
              <a:gd name="connsiteY4" fmla="*/ 348482 h 5144400"/>
              <a:gd name="connsiteX5" fmla="*/ 8398022 w 9143999"/>
              <a:gd name="connsiteY5" fmla="*/ 345388 h 5144400"/>
              <a:gd name="connsiteX6" fmla="*/ 8194405 w 9143999"/>
              <a:gd name="connsiteY6" fmla="*/ 339038 h 5144400"/>
              <a:gd name="connsiteX7" fmla="*/ 8222228 w 9143999"/>
              <a:gd name="connsiteY7" fmla="*/ 404046 h 5144400"/>
              <a:gd name="connsiteX8" fmla="*/ 8194405 w 9143999"/>
              <a:gd name="connsiteY8" fmla="*/ 462863 h 5144400"/>
              <a:gd name="connsiteX9" fmla="*/ 8163490 w 9143999"/>
              <a:gd name="connsiteY9" fmla="*/ 400951 h 5144400"/>
              <a:gd name="connsiteX10" fmla="*/ 8194405 w 9143999"/>
              <a:gd name="connsiteY10" fmla="*/ 339038 h 5144400"/>
              <a:gd name="connsiteX11" fmla="*/ 7739627 w 9143999"/>
              <a:gd name="connsiteY11" fmla="*/ 339038 h 5144400"/>
              <a:gd name="connsiteX12" fmla="*/ 7768202 w 9143999"/>
              <a:gd name="connsiteY12" fmla="*/ 404046 h 5144400"/>
              <a:gd name="connsiteX13" fmla="*/ 7739627 w 9143999"/>
              <a:gd name="connsiteY13" fmla="*/ 462863 h 5144400"/>
              <a:gd name="connsiteX14" fmla="*/ 7711052 w 9143999"/>
              <a:gd name="connsiteY14" fmla="*/ 400951 h 5144400"/>
              <a:gd name="connsiteX15" fmla="*/ 7739627 w 9143999"/>
              <a:gd name="connsiteY15" fmla="*/ 339038 h 5144400"/>
              <a:gd name="connsiteX16" fmla="*/ 8619102 w 9143999"/>
              <a:gd name="connsiteY16" fmla="*/ 335863 h 5144400"/>
              <a:gd name="connsiteX17" fmla="*/ 8650852 w 9143999"/>
              <a:gd name="connsiteY17" fmla="*/ 378725 h 5144400"/>
              <a:gd name="connsiteX18" fmla="*/ 8590527 w 9143999"/>
              <a:gd name="connsiteY18" fmla="*/ 378725 h 5144400"/>
              <a:gd name="connsiteX19" fmla="*/ 8619102 w 9143999"/>
              <a:gd name="connsiteY19" fmla="*/ 335863 h 5144400"/>
              <a:gd name="connsiteX20" fmla="*/ 7121217 w 9143999"/>
              <a:gd name="connsiteY20" fmla="*/ 308875 h 5144400"/>
              <a:gd name="connsiteX21" fmla="*/ 7149078 w 9143999"/>
              <a:gd name="connsiteY21" fmla="*/ 410475 h 5144400"/>
              <a:gd name="connsiteX22" fmla="*/ 7087165 w 9143999"/>
              <a:gd name="connsiteY22" fmla="*/ 410475 h 5144400"/>
              <a:gd name="connsiteX23" fmla="*/ 7121217 w 9143999"/>
              <a:gd name="connsiteY23" fmla="*/ 308875 h 5144400"/>
              <a:gd name="connsiteX24" fmla="*/ 7471280 w 9143999"/>
              <a:gd name="connsiteY24" fmla="*/ 305701 h 5144400"/>
              <a:gd name="connsiteX25" fmla="*/ 7471280 w 9143999"/>
              <a:gd name="connsiteY25" fmla="*/ 336410 h 5144400"/>
              <a:gd name="connsiteX26" fmla="*/ 7539787 w 9143999"/>
              <a:gd name="connsiteY26" fmla="*/ 336410 h 5144400"/>
              <a:gd name="connsiteX27" fmla="*/ 7474394 w 9143999"/>
              <a:gd name="connsiteY27" fmla="*/ 465388 h 5144400"/>
              <a:gd name="connsiteX28" fmla="*/ 7471280 w 9143999"/>
              <a:gd name="connsiteY28" fmla="*/ 493026 h 5144400"/>
              <a:gd name="connsiteX29" fmla="*/ 7608294 w 9143999"/>
              <a:gd name="connsiteY29" fmla="*/ 493026 h 5144400"/>
              <a:gd name="connsiteX30" fmla="*/ 7630091 w 9143999"/>
              <a:gd name="connsiteY30" fmla="*/ 471529 h 5144400"/>
              <a:gd name="connsiteX31" fmla="*/ 7630091 w 9143999"/>
              <a:gd name="connsiteY31" fmla="*/ 459246 h 5144400"/>
              <a:gd name="connsiteX32" fmla="*/ 7592724 w 9143999"/>
              <a:gd name="connsiteY32" fmla="*/ 462317 h 5144400"/>
              <a:gd name="connsiteX33" fmla="*/ 7549129 w 9143999"/>
              <a:gd name="connsiteY33" fmla="*/ 462317 h 5144400"/>
              <a:gd name="connsiteX34" fmla="*/ 7626977 w 9143999"/>
              <a:gd name="connsiteY34" fmla="*/ 305701 h 5144400"/>
              <a:gd name="connsiteX35" fmla="*/ 7471280 w 9143999"/>
              <a:gd name="connsiteY35" fmla="*/ 305701 h 5144400"/>
              <a:gd name="connsiteX36" fmla="*/ 8622169 w 9143999"/>
              <a:gd name="connsiteY36" fmla="*/ 305700 h 5144400"/>
              <a:gd name="connsiteX37" fmla="*/ 8525441 w 9143999"/>
              <a:gd name="connsiteY37" fmla="*/ 397827 h 5144400"/>
              <a:gd name="connsiteX38" fmla="*/ 8619049 w 9143999"/>
              <a:gd name="connsiteY38" fmla="*/ 493025 h 5144400"/>
              <a:gd name="connsiteX39" fmla="*/ 8697055 w 9143999"/>
              <a:gd name="connsiteY39" fmla="*/ 434678 h 5144400"/>
              <a:gd name="connsiteX40" fmla="*/ 8644011 w 9143999"/>
              <a:gd name="connsiteY40" fmla="*/ 450033 h 5144400"/>
              <a:gd name="connsiteX41" fmla="*/ 8590966 w 9143999"/>
              <a:gd name="connsiteY41" fmla="*/ 403969 h 5144400"/>
              <a:gd name="connsiteX42" fmla="*/ 8706416 w 9143999"/>
              <a:gd name="connsiteY42" fmla="*/ 403969 h 5144400"/>
              <a:gd name="connsiteX43" fmla="*/ 8706416 w 9143999"/>
              <a:gd name="connsiteY43" fmla="*/ 382473 h 5144400"/>
              <a:gd name="connsiteX44" fmla="*/ 8622169 w 9143999"/>
              <a:gd name="connsiteY44" fmla="*/ 305700 h 5144400"/>
              <a:gd name="connsiteX45" fmla="*/ 8195215 w 9143999"/>
              <a:gd name="connsiteY45" fmla="*/ 305700 h 5144400"/>
              <a:gd name="connsiteX46" fmla="*/ 8098403 w 9143999"/>
              <a:gd name="connsiteY46" fmla="*/ 403969 h 5144400"/>
              <a:gd name="connsiteX47" fmla="*/ 8192092 w 9143999"/>
              <a:gd name="connsiteY47" fmla="*/ 493025 h 5144400"/>
              <a:gd name="connsiteX48" fmla="*/ 8288903 w 9143999"/>
              <a:gd name="connsiteY48" fmla="*/ 394756 h 5144400"/>
              <a:gd name="connsiteX49" fmla="*/ 8195215 w 9143999"/>
              <a:gd name="connsiteY49" fmla="*/ 305700 h 5144400"/>
              <a:gd name="connsiteX50" fmla="*/ 7739629 w 9143999"/>
              <a:gd name="connsiteY50" fmla="*/ 305700 h 5144400"/>
              <a:gd name="connsiteX51" fmla="*/ 7639616 w 9143999"/>
              <a:gd name="connsiteY51" fmla="*/ 403969 h 5144400"/>
              <a:gd name="connsiteX52" fmla="*/ 7739629 w 9143999"/>
              <a:gd name="connsiteY52" fmla="*/ 493025 h 5144400"/>
              <a:gd name="connsiteX53" fmla="*/ 7839641 w 9143999"/>
              <a:gd name="connsiteY53" fmla="*/ 394757 h 5144400"/>
              <a:gd name="connsiteX54" fmla="*/ 7739629 w 9143999"/>
              <a:gd name="connsiteY54" fmla="*/ 305700 h 5144400"/>
              <a:gd name="connsiteX55" fmla="*/ 7102867 w 9143999"/>
              <a:gd name="connsiteY55" fmla="*/ 256489 h 5144400"/>
              <a:gd name="connsiteX56" fmla="*/ 7018903 w 9143999"/>
              <a:gd name="connsiteY56" fmla="*/ 493026 h 5144400"/>
              <a:gd name="connsiteX57" fmla="*/ 7056220 w 9143999"/>
              <a:gd name="connsiteY57" fmla="*/ 493026 h 5144400"/>
              <a:gd name="connsiteX58" fmla="*/ 7077989 w 9143999"/>
              <a:gd name="connsiteY58" fmla="*/ 434659 h 5144400"/>
              <a:gd name="connsiteX59" fmla="*/ 7158843 w 9143999"/>
              <a:gd name="connsiteY59" fmla="*/ 434659 h 5144400"/>
              <a:gd name="connsiteX60" fmla="*/ 7171282 w 9143999"/>
              <a:gd name="connsiteY60" fmla="*/ 471522 h 5144400"/>
              <a:gd name="connsiteX61" fmla="*/ 7196160 w 9143999"/>
              <a:gd name="connsiteY61" fmla="*/ 493026 h 5144400"/>
              <a:gd name="connsiteX62" fmla="*/ 7245916 w 9143999"/>
              <a:gd name="connsiteY62" fmla="*/ 493026 h 5144400"/>
              <a:gd name="connsiteX63" fmla="*/ 7239697 w 9143999"/>
              <a:gd name="connsiteY63" fmla="*/ 477666 h 5144400"/>
              <a:gd name="connsiteX64" fmla="*/ 7180611 w 9143999"/>
              <a:gd name="connsiteY64" fmla="*/ 290280 h 5144400"/>
              <a:gd name="connsiteX65" fmla="*/ 7133965 w 9143999"/>
              <a:gd name="connsiteY65" fmla="*/ 256489 h 5144400"/>
              <a:gd name="connsiteX66" fmla="*/ 7102867 w 9143999"/>
              <a:gd name="connsiteY66" fmla="*/ 256489 h 5144400"/>
              <a:gd name="connsiteX67" fmla="*/ 7866628 w 9143999"/>
              <a:gd name="connsiteY67" fmla="*/ 256488 h 5144400"/>
              <a:gd name="connsiteX68" fmla="*/ 7866628 w 9143999"/>
              <a:gd name="connsiteY68" fmla="*/ 493025 h 5144400"/>
              <a:gd name="connsiteX69" fmla="*/ 7907268 w 9143999"/>
              <a:gd name="connsiteY69" fmla="*/ 493025 h 5144400"/>
              <a:gd name="connsiteX70" fmla="*/ 7907268 w 9143999"/>
              <a:gd name="connsiteY70" fmla="*/ 345574 h 5144400"/>
              <a:gd name="connsiteX71" fmla="*/ 8004179 w 9143999"/>
              <a:gd name="connsiteY71" fmla="*/ 462306 h 5144400"/>
              <a:gd name="connsiteX72" fmla="*/ 8041693 w 9143999"/>
              <a:gd name="connsiteY72" fmla="*/ 493025 h 5144400"/>
              <a:gd name="connsiteX73" fmla="*/ 8069828 w 9143999"/>
              <a:gd name="connsiteY73" fmla="*/ 493025 h 5144400"/>
              <a:gd name="connsiteX74" fmla="*/ 8069828 w 9143999"/>
              <a:gd name="connsiteY74" fmla="*/ 277992 h 5144400"/>
              <a:gd name="connsiteX75" fmla="*/ 8047945 w 9143999"/>
              <a:gd name="connsiteY75" fmla="*/ 256488 h 5144400"/>
              <a:gd name="connsiteX76" fmla="*/ 8029188 w 9143999"/>
              <a:gd name="connsiteY76" fmla="*/ 256488 h 5144400"/>
              <a:gd name="connsiteX77" fmla="*/ 8029188 w 9143999"/>
              <a:gd name="connsiteY77" fmla="*/ 400868 h 5144400"/>
              <a:gd name="connsiteX78" fmla="*/ 7938530 w 9143999"/>
              <a:gd name="connsiteY78" fmla="*/ 284136 h 5144400"/>
              <a:gd name="connsiteX79" fmla="*/ 7894764 w 9143999"/>
              <a:gd name="connsiteY79" fmla="*/ 256488 h 5144400"/>
              <a:gd name="connsiteX80" fmla="*/ 7866628 w 9143999"/>
              <a:gd name="connsiteY80" fmla="*/ 256488 h 5144400"/>
              <a:gd name="connsiteX81" fmla="*/ 8738166 w 9143999"/>
              <a:gd name="connsiteY81" fmla="*/ 237438 h 5144400"/>
              <a:gd name="connsiteX82" fmla="*/ 8738166 w 9143999"/>
              <a:gd name="connsiteY82" fmla="*/ 493025 h 5144400"/>
              <a:gd name="connsiteX83" fmla="*/ 8793729 w 9143999"/>
              <a:gd name="connsiteY83" fmla="*/ 493025 h 5144400"/>
              <a:gd name="connsiteX84" fmla="*/ 8793729 w 9143999"/>
              <a:gd name="connsiteY84" fmla="*/ 274390 h 5144400"/>
              <a:gd name="connsiteX85" fmla="*/ 8759774 w 9143999"/>
              <a:gd name="connsiteY85" fmla="*/ 237438 h 5144400"/>
              <a:gd name="connsiteX86" fmla="*/ 8738166 w 9143999"/>
              <a:gd name="connsiteY86" fmla="*/ 237438 h 5144400"/>
              <a:gd name="connsiteX87" fmla="*/ 8315891 w 9143999"/>
              <a:gd name="connsiteY87" fmla="*/ 237438 h 5144400"/>
              <a:gd name="connsiteX88" fmla="*/ 8315891 w 9143999"/>
              <a:gd name="connsiteY88" fmla="*/ 493025 h 5144400"/>
              <a:gd name="connsiteX89" fmla="*/ 8393965 w 9143999"/>
              <a:gd name="connsiteY89" fmla="*/ 493025 h 5144400"/>
              <a:gd name="connsiteX90" fmla="*/ 8506391 w 9143999"/>
              <a:gd name="connsiteY90" fmla="*/ 388327 h 5144400"/>
              <a:gd name="connsiteX91" fmla="*/ 8431440 w 9143999"/>
              <a:gd name="connsiteY91" fmla="*/ 308263 h 5144400"/>
              <a:gd name="connsiteX92" fmla="*/ 8381473 w 9143999"/>
              <a:gd name="connsiteY92" fmla="*/ 326740 h 5144400"/>
              <a:gd name="connsiteX93" fmla="*/ 8381473 w 9143999"/>
              <a:gd name="connsiteY93" fmla="*/ 274391 h 5144400"/>
              <a:gd name="connsiteX94" fmla="*/ 8340875 w 9143999"/>
              <a:gd name="connsiteY94" fmla="*/ 237438 h 5144400"/>
              <a:gd name="connsiteX95" fmla="*/ 8315891 w 9143999"/>
              <a:gd name="connsiteY95" fmla="*/ 237438 h 5144400"/>
              <a:gd name="connsiteX96" fmla="*/ 7268141 w 9143999"/>
              <a:gd name="connsiteY96" fmla="*/ 237438 h 5144400"/>
              <a:gd name="connsiteX97" fmla="*/ 7268141 w 9143999"/>
              <a:gd name="connsiteY97" fmla="*/ 493025 h 5144400"/>
              <a:gd name="connsiteX98" fmla="*/ 7333229 w 9143999"/>
              <a:gd name="connsiteY98" fmla="*/ 493025 h 5144400"/>
              <a:gd name="connsiteX99" fmla="*/ 7333229 w 9143999"/>
              <a:gd name="connsiteY99" fmla="*/ 420859 h 5144400"/>
              <a:gd name="connsiteX100" fmla="*/ 7333229 w 9143999"/>
              <a:gd name="connsiteY100" fmla="*/ 394758 h 5144400"/>
              <a:gd name="connsiteX101" fmla="*/ 7354980 w 9143999"/>
              <a:gd name="connsiteY101" fmla="*/ 433815 h 5144400"/>
              <a:gd name="connsiteX102" fmla="*/ 7370852 w 9143999"/>
              <a:gd name="connsiteY102" fmla="*/ 462317 h 5144400"/>
              <a:gd name="connsiteX103" fmla="*/ 7405341 w 9143999"/>
              <a:gd name="connsiteY103" fmla="*/ 493026 h 5144400"/>
              <a:gd name="connsiteX104" fmla="*/ 7458641 w 9143999"/>
              <a:gd name="connsiteY104" fmla="*/ 493026 h 5144400"/>
              <a:gd name="connsiteX105" fmla="*/ 7446100 w 9143999"/>
              <a:gd name="connsiteY105" fmla="*/ 477671 h 5144400"/>
              <a:gd name="connsiteX106" fmla="*/ 7395935 w 9143999"/>
              <a:gd name="connsiteY106" fmla="*/ 379402 h 5144400"/>
              <a:gd name="connsiteX107" fmla="*/ 7455506 w 9143999"/>
              <a:gd name="connsiteY107" fmla="*/ 305701 h 5144400"/>
              <a:gd name="connsiteX108" fmla="*/ 7402205 w 9143999"/>
              <a:gd name="connsiteY108" fmla="*/ 305701 h 5144400"/>
              <a:gd name="connsiteX109" fmla="*/ 7334306 w 9143999"/>
              <a:gd name="connsiteY109" fmla="*/ 393365 h 5144400"/>
              <a:gd name="connsiteX110" fmla="*/ 7333229 w 9143999"/>
              <a:gd name="connsiteY110" fmla="*/ 394755 h 5144400"/>
              <a:gd name="connsiteX111" fmla="*/ 7333229 w 9143999"/>
              <a:gd name="connsiteY111" fmla="*/ 366627 h 5144400"/>
              <a:gd name="connsiteX112" fmla="*/ 7333229 w 9143999"/>
              <a:gd name="connsiteY112" fmla="*/ 274391 h 5144400"/>
              <a:gd name="connsiteX113" fmla="*/ 7289837 w 9143999"/>
              <a:gd name="connsiteY113" fmla="*/ 237438 h 5144400"/>
              <a:gd name="connsiteX114" fmla="*/ 7268141 w 9143999"/>
              <a:gd name="connsiteY114" fmla="*/ 237438 h 5144400"/>
              <a:gd name="connsiteX115" fmla="*/ 8932543 w 9143999"/>
              <a:gd name="connsiteY115" fmla="*/ 0 h 5144400"/>
              <a:gd name="connsiteX116" fmla="*/ 9143999 w 9143999"/>
              <a:gd name="connsiteY116" fmla="*/ 0 h 5144400"/>
              <a:gd name="connsiteX117" fmla="*/ 9143999 w 9143999"/>
              <a:gd name="connsiteY117" fmla="*/ 5144400 h 5144400"/>
              <a:gd name="connsiteX118" fmla="*/ 9027314 w 9143999"/>
              <a:gd name="connsiteY118" fmla="*/ 5144400 h 5144400"/>
              <a:gd name="connsiteX119" fmla="*/ 9009627 w 9143999"/>
              <a:gd name="connsiteY119" fmla="*/ 5144400 h 5144400"/>
              <a:gd name="connsiteX120" fmla="*/ 8932543 w 9143999"/>
              <a:gd name="connsiteY120" fmla="*/ 5144400 h 5144400"/>
              <a:gd name="connsiteX121" fmla="*/ 8853155 w 9143999"/>
              <a:gd name="connsiteY121" fmla="*/ 5144400 h 5144400"/>
              <a:gd name="connsiteX122" fmla="*/ 0 w 9143999"/>
              <a:gd name="connsiteY122" fmla="*/ 5144400 h 5144400"/>
              <a:gd name="connsiteX123" fmla="*/ 0 w 9143999"/>
              <a:gd name="connsiteY123" fmla="*/ 902 h 5144400"/>
              <a:gd name="connsiteX124" fmla="*/ 8853155 w 9143999"/>
              <a:gd name="connsiteY124" fmla="*/ 902 h 5144400"/>
              <a:gd name="connsiteX125" fmla="*/ 8853155 w 9143999"/>
              <a:gd name="connsiteY125" fmla="*/ 900 h 5144400"/>
              <a:gd name="connsiteX126" fmla="*/ 8932543 w 9143999"/>
              <a:gd name="connsiteY126" fmla="*/ 9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5144400">
                <a:moveTo>
                  <a:pt x="8398022" y="345388"/>
                </a:moveTo>
                <a:cubicBezTo>
                  <a:pt x="8419663" y="345388"/>
                  <a:pt x="8441303" y="367043"/>
                  <a:pt x="8441303" y="397979"/>
                </a:cubicBezTo>
                <a:cubicBezTo>
                  <a:pt x="8441303" y="441289"/>
                  <a:pt x="8422754" y="466038"/>
                  <a:pt x="8391839" y="466038"/>
                </a:cubicBezTo>
                <a:cubicBezTo>
                  <a:pt x="8382565" y="466038"/>
                  <a:pt x="8382565" y="466038"/>
                  <a:pt x="8382565" y="466038"/>
                </a:cubicBezTo>
                <a:cubicBezTo>
                  <a:pt x="8382565" y="348482"/>
                  <a:pt x="8382565" y="348482"/>
                  <a:pt x="8382565" y="348482"/>
                </a:cubicBezTo>
                <a:cubicBezTo>
                  <a:pt x="8385656" y="345388"/>
                  <a:pt x="8388748" y="345388"/>
                  <a:pt x="8398022" y="345388"/>
                </a:cubicBezTo>
                <a:close/>
                <a:moveTo>
                  <a:pt x="8194405" y="339038"/>
                </a:moveTo>
                <a:cubicBezTo>
                  <a:pt x="8212954" y="339038"/>
                  <a:pt x="8222228" y="366899"/>
                  <a:pt x="8222228" y="404046"/>
                </a:cubicBezTo>
                <a:cubicBezTo>
                  <a:pt x="8222228" y="441194"/>
                  <a:pt x="8212954" y="462863"/>
                  <a:pt x="8194405" y="462863"/>
                </a:cubicBezTo>
                <a:cubicBezTo>
                  <a:pt x="8172765" y="462863"/>
                  <a:pt x="8163490" y="438098"/>
                  <a:pt x="8163490" y="400951"/>
                </a:cubicBezTo>
                <a:cubicBezTo>
                  <a:pt x="8163490" y="363803"/>
                  <a:pt x="8172765" y="339038"/>
                  <a:pt x="8194405" y="339038"/>
                </a:cubicBezTo>
                <a:close/>
                <a:moveTo>
                  <a:pt x="7739627" y="339038"/>
                </a:moveTo>
                <a:cubicBezTo>
                  <a:pt x="7761852" y="339038"/>
                  <a:pt x="7768202" y="366899"/>
                  <a:pt x="7768202" y="404046"/>
                </a:cubicBezTo>
                <a:cubicBezTo>
                  <a:pt x="7768202" y="441194"/>
                  <a:pt x="7761852" y="462863"/>
                  <a:pt x="7739627" y="462863"/>
                </a:cubicBezTo>
                <a:cubicBezTo>
                  <a:pt x="7717402" y="462863"/>
                  <a:pt x="7711052" y="438098"/>
                  <a:pt x="7711052" y="400951"/>
                </a:cubicBezTo>
                <a:cubicBezTo>
                  <a:pt x="7711052" y="363803"/>
                  <a:pt x="7717402" y="339038"/>
                  <a:pt x="7739627" y="339038"/>
                </a:cubicBezTo>
                <a:close/>
                <a:moveTo>
                  <a:pt x="8619102" y="335863"/>
                </a:moveTo>
                <a:cubicBezTo>
                  <a:pt x="8644502" y="335863"/>
                  <a:pt x="8650852" y="378725"/>
                  <a:pt x="8650852" y="378725"/>
                </a:cubicBezTo>
                <a:cubicBezTo>
                  <a:pt x="8590527" y="378725"/>
                  <a:pt x="8590527" y="378725"/>
                  <a:pt x="8590527" y="378725"/>
                </a:cubicBezTo>
                <a:cubicBezTo>
                  <a:pt x="8590527" y="354233"/>
                  <a:pt x="8600052" y="335863"/>
                  <a:pt x="8619102" y="335863"/>
                </a:cubicBezTo>
                <a:close/>
                <a:moveTo>
                  <a:pt x="7121217" y="308875"/>
                </a:moveTo>
                <a:cubicBezTo>
                  <a:pt x="7149078" y="410475"/>
                  <a:pt x="7149078" y="410475"/>
                  <a:pt x="7149078" y="410475"/>
                </a:cubicBezTo>
                <a:cubicBezTo>
                  <a:pt x="7087165" y="410475"/>
                  <a:pt x="7087165" y="410475"/>
                  <a:pt x="7087165" y="410475"/>
                </a:cubicBezTo>
                <a:cubicBezTo>
                  <a:pt x="7121217" y="308875"/>
                  <a:pt x="7121217" y="308875"/>
                  <a:pt x="7121217" y="308875"/>
                </a:cubicBezTo>
                <a:close/>
                <a:moveTo>
                  <a:pt x="7471280" y="305701"/>
                </a:moveTo>
                <a:cubicBezTo>
                  <a:pt x="7471280" y="336410"/>
                  <a:pt x="7471280" y="336410"/>
                  <a:pt x="7471280" y="336410"/>
                </a:cubicBezTo>
                <a:cubicBezTo>
                  <a:pt x="7539787" y="336410"/>
                  <a:pt x="7539787" y="336410"/>
                  <a:pt x="7539787" y="336410"/>
                </a:cubicBezTo>
                <a:cubicBezTo>
                  <a:pt x="7474394" y="465388"/>
                  <a:pt x="7474394" y="465388"/>
                  <a:pt x="7474394" y="465388"/>
                </a:cubicBezTo>
                <a:cubicBezTo>
                  <a:pt x="7468166" y="477671"/>
                  <a:pt x="7468166" y="486884"/>
                  <a:pt x="7471280" y="493026"/>
                </a:cubicBezTo>
                <a:cubicBezTo>
                  <a:pt x="7608294" y="493026"/>
                  <a:pt x="7608294" y="493026"/>
                  <a:pt x="7608294" y="493026"/>
                </a:cubicBezTo>
                <a:cubicBezTo>
                  <a:pt x="7620749" y="493026"/>
                  <a:pt x="7630091" y="483813"/>
                  <a:pt x="7630091" y="471529"/>
                </a:cubicBezTo>
                <a:cubicBezTo>
                  <a:pt x="7630091" y="459246"/>
                  <a:pt x="7630091" y="459246"/>
                  <a:pt x="7630091" y="459246"/>
                </a:cubicBezTo>
                <a:cubicBezTo>
                  <a:pt x="7623863" y="462317"/>
                  <a:pt x="7614522" y="462317"/>
                  <a:pt x="7592724" y="462317"/>
                </a:cubicBezTo>
                <a:cubicBezTo>
                  <a:pt x="7549129" y="462317"/>
                  <a:pt x="7549129" y="462317"/>
                  <a:pt x="7549129" y="462317"/>
                </a:cubicBezTo>
                <a:cubicBezTo>
                  <a:pt x="7626977" y="305701"/>
                  <a:pt x="7626977" y="305701"/>
                  <a:pt x="7626977" y="305701"/>
                </a:cubicBezTo>
                <a:cubicBezTo>
                  <a:pt x="7471280" y="305701"/>
                  <a:pt x="7471280" y="305701"/>
                  <a:pt x="7471280" y="305701"/>
                </a:cubicBezTo>
                <a:close/>
                <a:moveTo>
                  <a:pt x="8622169" y="305700"/>
                </a:moveTo>
                <a:cubicBezTo>
                  <a:pt x="8566004" y="305700"/>
                  <a:pt x="8525441" y="342551"/>
                  <a:pt x="8525441" y="397827"/>
                </a:cubicBezTo>
                <a:cubicBezTo>
                  <a:pt x="8525441" y="453103"/>
                  <a:pt x="8562884" y="493025"/>
                  <a:pt x="8619049" y="493025"/>
                </a:cubicBezTo>
                <a:cubicBezTo>
                  <a:pt x="8675213" y="493025"/>
                  <a:pt x="8697055" y="462316"/>
                  <a:pt x="8697055" y="434678"/>
                </a:cubicBezTo>
                <a:cubicBezTo>
                  <a:pt x="8684574" y="443891"/>
                  <a:pt x="8665853" y="450033"/>
                  <a:pt x="8644011" y="450033"/>
                </a:cubicBezTo>
                <a:cubicBezTo>
                  <a:pt x="8612808" y="450033"/>
                  <a:pt x="8590966" y="431607"/>
                  <a:pt x="8590966" y="403969"/>
                </a:cubicBezTo>
                <a:cubicBezTo>
                  <a:pt x="8706416" y="403969"/>
                  <a:pt x="8706416" y="403969"/>
                  <a:pt x="8706416" y="403969"/>
                </a:cubicBezTo>
                <a:cubicBezTo>
                  <a:pt x="8706416" y="394756"/>
                  <a:pt x="8706416" y="388615"/>
                  <a:pt x="8706416" y="382473"/>
                </a:cubicBezTo>
                <a:cubicBezTo>
                  <a:pt x="8706416" y="339480"/>
                  <a:pt x="8675213" y="305700"/>
                  <a:pt x="8622169" y="305700"/>
                </a:cubicBezTo>
                <a:close/>
                <a:moveTo>
                  <a:pt x="8195215" y="305700"/>
                </a:moveTo>
                <a:cubicBezTo>
                  <a:pt x="8139002" y="305700"/>
                  <a:pt x="8098403" y="342551"/>
                  <a:pt x="8098403" y="403969"/>
                </a:cubicBezTo>
                <a:cubicBezTo>
                  <a:pt x="8098403" y="456174"/>
                  <a:pt x="8139002" y="493025"/>
                  <a:pt x="8192092" y="493025"/>
                </a:cubicBezTo>
                <a:cubicBezTo>
                  <a:pt x="8245182" y="493025"/>
                  <a:pt x="8288903" y="456174"/>
                  <a:pt x="8288903" y="394756"/>
                </a:cubicBezTo>
                <a:cubicBezTo>
                  <a:pt x="8288903" y="342551"/>
                  <a:pt x="8248305" y="305700"/>
                  <a:pt x="8195215" y="305700"/>
                </a:cubicBezTo>
                <a:close/>
                <a:moveTo>
                  <a:pt x="7739629" y="305700"/>
                </a:moveTo>
                <a:cubicBezTo>
                  <a:pt x="7686497" y="305700"/>
                  <a:pt x="7639616" y="342551"/>
                  <a:pt x="7639616" y="403969"/>
                </a:cubicBezTo>
                <a:cubicBezTo>
                  <a:pt x="7639616" y="456175"/>
                  <a:pt x="7686497" y="493025"/>
                  <a:pt x="7739629" y="493025"/>
                </a:cubicBezTo>
                <a:cubicBezTo>
                  <a:pt x="7792760" y="493025"/>
                  <a:pt x="7839641" y="456175"/>
                  <a:pt x="7839641" y="394757"/>
                </a:cubicBezTo>
                <a:cubicBezTo>
                  <a:pt x="7839641" y="342551"/>
                  <a:pt x="7795886" y="305700"/>
                  <a:pt x="7739629" y="305700"/>
                </a:cubicBezTo>
                <a:close/>
                <a:moveTo>
                  <a:pt x="7102867" y="256489"/>
                </a:moveTo>
                <a:cubicBezTo>
                  <a:pt x="7018903" y="493026"/>
                  <a:pt x="7018903" y="493026"/>
                  <a:pt x="7018903" y="493026"/>
                </a:cubicBezTo>
                <a:cubicBezTo>
                  <a:pt x="7056220" y="493026"/>
                  <a:pt x="7056220" y="493026"/>
                  <a:pt x="7056220" y="493026"/>
                </a:cubicBezTo>
                <a:cubicBezTo>
                  <a:pt x="7077989" y="434659"/>
                  <a:pt x="7077989" y="434659"/>
                  <a:pt x="7077989" y="434659"/>
                </a:cubicBezTo>
                <a:cubicBezTo>
                  <a:pt x="7158843" y="434659"/>
                  <a:pt x="7158843" y="434659"/>
                  <a:pt x="7158843" y="434659"/>
                </a:cubicBezTo>
                <a:cubicBezTo>
                  <a:pt x="7171282" y="471522"/>
                  <a:pt x="7171282" y="471522"/>
                  <a:pt x="7171282" y="471522"/>
                </a:cubicBezTo>
                <a:cubicBezTo>
                  <a:pt x="7177501" y="486882"/>
                  <a:pt x="7180611" y="493026"/>
                  <a:pt x="7196160" y="493026"/>
                </a:cubicBezTo>
                <a:cubicBezTo>
                  <a:pt x="7245916" y="493026"/>
                  <a:pt x="7245916" y="493026"/>
                  <a:pt x="7245916" y="493026"/>
                </a:cubicBezTo>
                <a:cubicBezTo>
                  <a:pt x="7245916" y="489954"/>
                  <a:pt x="7242806" y="486882"/>
                  <a:pt x="7239697" y="477666"/>
                </a:cubicBezTo>
                <a:cubicBezTo>
                  <a:pt x="7180611" y="290280"/>
                  <a:pt x="7180611" y="290280"/>
                  <a:pt x="7180611" y="290280"/>
                </a:cubicBezTo>
                <a:cubicBezTo>
                  <a:pt x="7171282" y="268776"/>
                  <a:pt x="7161953" y="256489"/>
                  <a:pt x="7133965" y="256489"/>
                </a:cubicBezTo>
                <a:cubicBezTo>
                  <a:pt x="7102867" y="256489"/>
                  <a:pt x="7102867" y="256489"/>
                  <a:pt x="7102867" y="256489"/>
                </a:cubicBezTo>
                <a:close/>
                <a:moveTo>
                  <a:pt x="7866628" y="256488"/>
                </a:moveTo>
                <a:cubicBezTo>
                  <a:pt x="7866628" y="493025"/>
                  <a:pt x="7866628" y="493025"/>
                  <a:pt x="7866628" y="493025"/>
                </a:cubicBezTo>
                <a:cubicBezTo>
                  <a:pt x="7907268" y="493025"/>
                  <a:pt x="7907268" y="493025"/>
                  <a:pt x="7907268" y="493025"/>
                </a:cubicBezTo>
                <a:cubicBezTo>
                  <a:pt x="7907268" y="345574"/>
                  <a:pt x="7907268" y="345574"/>
                  <a:pt x="7907268" y="345574"/>
                </a:cubicBezTo>
                <a:cubicBezTo>
                  <a:pt x="8004179" y="462306"/>
                  <a:pt x="8004179" y="462306"/>
                  <a:pt x="8004179" y="462306"/>
                </a:cubicBezTo>
                <a:cubicBezTo>
                  <a:pt x="8016684" y="480738"/>
                  <a:pt x="8026062" y="493025"/>
                  <a:pt x="8041693" y="493025"/>
                </a:cubicBezTo>
                <a:cubicBezTo>
                  <a:pt x="8069828" y="493025"/>
                  <a:pt x="8069828" y="493025"/>
                  <a:pt x="8069828" y="493025"/>
                </a:cubicBezTo>
                <a:cubicBezTo>
                  <a:pt x="8069828" y="277992"/>
                  <a:pt x="8069828" y="277992"/>
                  <a:pt x="8069828" y="277992"/>
                </a:cubicBezTo>
                <a:cubicBezTo>
                  <a:pt x="8069828" y="265704"/>
                  <a:pt x="8060450" y="256488"/>
                  <a:pt x="8047945" y="256488"/>
                </a:cubicBezTo>
                <a:cubicBezTo>
                  <a:pt x="8029188" y="256488"/>
                  <a:pt x="8029188" y="256488"/>
                  <a:pt x="8029188" y="256488"/>
                </a:cubicBezTo>
                <a:cubicBezTo>
                  <a:pt x="8029188" y="400868"/>
                  <a:pt x="8029188" y="400868"/>
                  <a:pt x="8029188" y="400868"/>
                </a:cubicBezTo>
                <a:cubicBezTo>
                  <a:pt x="7938530" y="284136"/>
                  <a:pt x="7938530" y="284136"/>
                  <a:pt x="7938530" y="284136"/>
                </a:cubicBezTo>
                <a:cubicBezTo>
                  <a:pt x="7922899" y="268776"/>
                  <a:pt x="7916647" y="256488"/>
                  <a:pt x="7894764" y="256488"/>
                </a:cubicBezTo>
                <a:cubicBezTo>
                  <a:pt x="7866628" y="256488"/>
                  <a:pt x="7866628" y="256488"/>
                  <a:pt x="7866628" y="256488"/>
                </a:cubicBezTo>
                <a:close/>
                <a:moveTo>
                  <a:pt x="8738166" y="237438"/>
                </a:moveTo>
                <a:cubicBezTo>
                  <a:pt x="8738166" y="493025"/>
                  <a:pt x="8738166" y="493025"/>
                  <a:pt x="8738166" y="493025"/>
                </a:cubicBezTo>
                <a:cubicBezTo>
                  <a:pt x="8793729" y="493025"/>
                  <a:pt x="8793729" y="493025"/>
                  <a:pt x="8793729" y="493025"/>
                </a:cubicBezTo>
                <a:cubicBezTo>
                  <a:pt x="8793729" y="274390"/>
                  <a:pt x="8793729" y="274390"/>
                  <a:pt x="8793729" y="274390"/>
                </a:cubicBezTo>
                <a:cubicBezTo>
                  <a:pt x="8793729" y="252835"/>
                  <a:pt x="8778295" y="237438"/>
                  <a:pt x="8759774" y="237438"/>
                </a:cubicBezTo>
                <a:cubicBezTo>
                  <a:pt x="8738166" y="237438"/>
                  <a:pt x="8738166" y="237438"/>
                  <a:pt x="8738166" y="237438"/>
                </a:cubicBezTo>
                <a:close/>
                <a:moveTo>
                  <a:pt x="8315891" y="237438"/>
                </a:moveTo>
                <a:cubicBezTo>
                  <a:pt x="8315891" y="493025"/>
                  <a:pt x="8315891" y="493025"/>
                  <a:pt x="8315891" y="493025"/>
                </a:cubicBezTo>
                <a:cubicBezTo>
                  <a:pt x="8393965" y="493025"/>
                  <a:pt x="8393965" y="493025"/>
                  <a:pt x="8393965" y="493025"/>
                </a:cubicBezTo>
                <a:cubicBezTo>
                  <a:pt x="8465793" y="493025"/>
                  <a:pt x="8506391" y="456073"/>
                  <a:pt x="8506391" y="388327"/>
                </a:cubicBezTo>
                <a:cubicBezTo>
                  <a:pt x="8506391" y="342136"/>
                  <a:pt x="8475161" y="308263"/>
                  <a:pt x="8431440" y="308263"/>
                </a:cubicBezTo>
                <a:cubicBezTo>
                  <a:pt x="8409580" y="308263"/>
                  <a:pt x="8390842" y="317502"/>
                  <a:pt x="8381473" y="326740"/>
                </a:cubicBezTo>
                <a:cubicBezTo>
                  <a:pt x="8381473" y="274391"/>
                  <a:pt x="8381473" y="274391"/>
                  <a:pt x="8381473" y="274391"/>
                </a:cubicBezTo>
                <a:cubicBezTo>
                  <a:pt x="8381473" y="252835"/>
                  <a:pt x="8362735" y="237438"/>
                  <a:pt x="8340875" y="237438"/>
                </a:cubicBezTo>
                <a:cubicBezTo>
                  <a:pt x="8315891" y="237438"/>
                  <a:pt x="8315891" y="237438"/>
                  <a:pt x="8315891" y="237438"/>
                </a:cubicBezTo>
                <a:close/>
                <a:moveTo>
                  <a:pt x="7268141" y="237438"/>
                </a:moveTo>
                <a:cubicBezTo>
                  <a:pt x="7268141" y="493025"/>
                  <a:pt x="7268141" y="493025"/>
                  <a:pt x="7268141" y="493025"/>
                </a:cubicBezTo>
                <a:cubicBezTo>
                  <a:pt x="7333229" y="493025"/>
                  <a:pt x="7333229" y="493025"/>
                  <a:pt x="7333229" y="493025"/>
                </a:cubicBezTo>
                <a:cubicBezTo>
                  <a:pt x="7333229" y="465696"/>
                  <a:pt x="7333229" y="441783"/>
                  <a:pt x="7333229" y="420859"/>
                </a:cubicBezTo>
                <a:lnTo>
                  <a:pt x="7333229" y="394758"/>
                </a:lnTo>
                <a:lnTo>
                  <a:pt x="7354980" y="433815"/>
                </a:lnTo>
                <a:cubicBezTo>
                  <a:pt x="7370852" y="462317"/>
                  <a:pt x="7370852" y="462317"/>
                  <a:pt x="7370852" y="462317"/>
                </a:cubicBezTo>
                <a:cubicBezTo>
                  <a:pt x="7380258" y="483813"/>
                  <a:pt x="7383393" y="493026"/>
                  <a:pt x="7405341" y="493026"/>
                </a:cubicBezTo>
                <a:cubicBezTo>
                  <a:pt x="7458641" y="493026"/>
                  <a:pt x="7458641" y="493026"/>
                  <a:pt x="7458641" y="493026"/>
                </a:cubicBezTo>
                <a:cubicBezTo>
                  <a:pt x="7455506" y="489955"/>
                  <a:pt x="7452371" y="486884"/>
                  <a:pt x="7446100" y="477671"/>
                </a:cubicBezTo>
                <a:cubicBezTo>
                  <a:pt x="7395935" y="379402"/>
                  <a:pt x="7395935" y="379402"/>
                  <a:pt x="7395935" y="379402"/>
                </a:cubicBezTo>
                <a:cubicBezTo>
                  <a:pt x="7455506" y="305701"/>
                  <a:pt x="7455506" y="305701"/>
                  <a:pt x="7455506" y="305701"/>
                </a:cubicBezTo>
                <a:cubicBezTo>
                  <a:pt x="7402205" y="305701"/>
                  <a:pt x="7402205" y="305701"/>
                  <a:pt x="7402205" y="305701"/>
                </a:cubicBezTo>
                <a:cubicBezTo>
                  <a:pt x="7350473" y="372493"/>
                  <a:pt x="7337539" y="389191"/>
                  <a:pt x="7334306" y="393365"/>
                </a:cubicBezTo>
                <a:lnTo>
                  <a:pt x="7333229" y="394755"/>
                </a:lnTo>
                <a:lnTo>
                  <a:pt x="7333229" y="366627"/>
                </a:lnTo>
                <a:cubicBezTo>
                  <a:pt x="7333229" y="274391"/>
                  <a:pt x="7333229" y="274391"/>
                  <a:pt x="7333229" y="274391"/>
                </a:cubicBezTo>
                <a:cubicBezTo>
                  <a:pt x="7333229" y="252835"/>
                  <a:pt x="7314633" y="237438"/>
                  <a:pt x="7289837" y="237438"/>
                </a:cubicBezTo>
                <a:cubicBezTo>
                  <a:pt x="7268141" y="237438"/>
                  <a:pt x="7268141" y="237438"/>
                  <a:pt x="7268141" y="237438"/>
                </a:cubicBezTo>
                <a:close/>
                <a:moveTo>
                  <a:pt x="8932543" y="0"/>
                </a:moveTo>
                <a:lnTo>
                  <a:pt x="9143999" y="0"/>
                </a:lnTo>
                <a:lnTo>
                  <a:pt x="9143999" y="5144400"/>
                </a:lnTo>
                <a:lnTo>
                  <a:pt x="9027314" y="5144400"/>
                </a:lnTo>
                <a:lnTo>
                  <a:pt x="9009627" y="5144400"/>
                </a:lnTo>
                <a:lnTo>
                  <a:pt x="8932543" y="5144400"/>
                </a:lnTo>
                <a:lnTo>
                  <a:pt x="8853155" y="5144400"/>
                </a:lnTo>
                <a:lnTo>
                  <a:pt x="0" y="5144400"/>
                </a:lnTo>
                <a:lnTo>
                  <a:pt x="0" y="902"/>
                </a:lnTo>
                <a:lnTo>
                  <a:pt x="8853155" y="902"/>
                </a:lnTo>
                <a:lnTo>
                  <a:pt x="8853155" y="900"/>
                </a:lnTo>
                <a:lnTo>
                  <a:pt x="8932543" y="9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oup 27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29" name="Rectangle 28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>
                <a:solidFill>
                  <a:schemeClr val="tx1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>
                  <a:solidFill>
                    <a:schemeClr val="tx1"/>
                  </a:solidFill>
                </a:rPr>
                <a:t>Click</a:t>
              </a:r>
              <a:r>
                <a:rPr lang="en-US" sz="900" b="0" baseline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>
                  <a:solidFill>
                    <a:schemeClr val="tx1"/>
                  </a:solidFill>
                </a:rPr>
              </a:br>
              <a:r>
                <a:rPr lang="en-US" sz="900" b="0" baseline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>
                <a:solidFill>
                  <a:schemeClr val="tx1"/>
                </a:solidFill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38" name="Rectangle 37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err="1"/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40" name="Straight Arrow Connector 39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>
              <a:stCxn id="31" idx="0"/>
              <a:endCxn id="31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>
              <a:stCxn id="31" idx="3"/>
              <a:endCxn id="31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Oval 63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err="1"/>
            </a:p>
          </p:txBody>
        </p:sp>
      </p:grpSp>
      <p:sp>
        <p:nvSpPr>
          <p:cNvPr id="52" name="Text Placeholder 3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2424" y="2353816"/>
            <a:ext cx="1629285" cy="1629285"/>
          </a:xfrm>
          <a:prstGeom prst="snip2DiagRect">
            <a:avLst>
              <a:gd name="adj1" fmla="val 15395"/>
              <a:gd name="adj2" fmla="val 0"/>
            </a:avLst>
          </a:prstGeom>
          <a:solidFill>
            <a:schemeClr val="bg1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accent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accent1"/>
                </a:solidFill>
              </a:defRPr>
            </a:lvl3pPr>
            <a:lvl4pPr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tem 1</a:t>
            </a:r>
          </a:p>
          <a:p>
            <a:pPr lvl="1"/>
            <a:r>
              <a:rPr lang="en-US"/>
              <a:t>Lorem ipsum</a:t>
            </a:r>
          </a:p>
          <a:p>
            <a:pPr lvl="2"/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3" name="Text Placeholder 3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623593" y="2353816"/>
            <a:ext cx="1629285" cy="1629285"/>
          </a:xfrm>
          <a:prstGeom prst="snip2DiagRect">
            <a:avLst>
              <a:gd name="adj1" fmla="val 15590"/>
              <a:gd name="adj2" fmla="val 0"/>
            </a:avLst>
          </a:prstGeom>
          <a:solidFill>
            <a:schemeClr val="bg1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accent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accent1"/>
                </a:solidFill>
              </a:defRPr>
            </a:lvl3pPr>
            <a:lvl4pPr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tem 2</a:t>
            </a:r>
          </a:p>
          <a:p>
            <a:pPr lvl="1"/>
            <a:r>
              <a:rPr lang="en-US"/>
              <a:t>Lorem ipsum</a:t>
            </a:r>
          </a:p>
          <a:p>
            <a:pPr lvl="2"/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5" name="Text Placeholder 3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894762" y="2353816"/>
            <a:ext cx="1629285" cy="1629285"/>
          </a:xfrm>
          <a:prstGeom prst="snip2DiagRect">
            <a:avLst>
              <a:gd name="adj1" fmla="val 15395"/>
              <a:gd name="adj2" fmla="val 0"/>
            </a:avLst>
          </a:prstGeom>
          <a:solidFill>
            <a:schemeClr val="bg1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accent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accent1"/>
                </a:solidFill>
              </a:defRPr>
            </a:lvl3pPr>
            <a:lvl4pPr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tem 3</a:t>
            </a:r>
          </a:p>
          <a:p>
            <a:pPr lvl="1"/>
            <a:r>
              <a:rPr lang="en-US"/>
              <a:t>Lorem ipsum</a:t>
            </a:r>
          </a:p>
          <a:p>
            <a:pPr lvl="2"/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6" name="Text Placeholder 3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165932" y="2353816"/>
            <a:ext cx="1629285" cy="1629285"/>
          </a:xfrm>
          <a:prstGeom prst="snip2DiagRect">
            <a:avLst>
              <a:gd name="adj1" fmla="val 15395"/>
              <a:gd name="adj2" fmla="val 0"/>
            </a:avLst>
          </a:prstGeom>
          <a:solidFill>
            <a:schemeClr val="bg1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400" b="1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aseline="0">
                <a:solidFill>
                  <a:schemeClr val="accent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accent1"/>
                </a:solidFill>
              </a:defRPr>
            </a:lvl3pPr>
            <a:lvl4pPr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tem 4</a:t>
            </a:r>
          </a:p>
          <a:p>
            <a:pPr lvl="1"/>
            <a:r>
              <a:rPr lang="en-US"/>
              <a:t>Lorem ipsum</a:t>
            </a:r>
          </a:p>
          <a:p>
            <a:pPr lvl="2"/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7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352424" y="3443101"/>
            <a:ext cx="540000" cy="54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2623593" y="3443101"/>
            <a:ext cx="540000" cy="54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4894762" y="3443101"/>
            <a:ext cx="540000" cy="54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60" name="Picture Placeholder 13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7165932" y="3443101"/>
            <a:ext cx="540000" cy="54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62" name="Text Placeholder 61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0" y="-221258"/>
            <a:ext cx="36000" cy="36000"/>
          </a:xfrm>
          <a:custGeom>
            <a:avLst/>
            <a:gdLst>
              <a:gd name="connsiteX0" fmla="*/ 89445 w 360383"/>
              <a:gd name="connsiteY0" fmla="*/ 0 h 360000"/>
              <a:gd name="connsiteX1" fmla="*/ 360383 w 360383"/>
              <a:gd name="connsiteY1" fmla="*/ 0 h 360000"/>
              <a:gd name="connsiteX2" fmla="*/ 360383 w 360383"/>
              <a:gd name="connsiteY2" fmla="*/ 270162 h 360000"/>
              <a:gd name="connsiteX3" fmla="*/ 270938 w 360383"/>
              <a:gd name="connsiteY3" fmla="*/ 360000 h 360000"/>
              <a:gd name="connsiteX4" fmla="*/ 270938 w 360383"/>
              <a:gd name="connsiteY4" fmla="*/ 89189 h 360000"/>
              <a:gd name="connsiteX5" fmla="*/ 0 w 360383"/>
              <a:gd name="connsiteY5" fmla="*/ 89189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383" h="360000">
                <a:moveTo>
                  <a:pt x="89445" y="0"/>
                </a:moveTo>
                <a:lnTo>
                  <a:pt x="360383" y="0"/>
                </a:lnTo>
                <a:lnTo>
                  <a:pt x="360383" y="270162"/>
                </a:lnTo>
                <a:lnTo>
                  <a:pt x="270938" y="360000"/>
                </a:lnTo>
                <a:lnTo>
                  <a:pt x="270938" y="89189"/>
                </a:lnTo>
                <a:lnTo>
                  <a:pt x="0" y="8918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 </a:t>
            </a:r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352424" y="252000"/>
            <a:ext cx="4428000" cy="895662"/>
          </a:xfrm>
          <a:solidFill>
            <a:schemeClr val="bg1">
              <a:alpha val="90000"/>
            </a:schemeClr>
          </a:solidFill>
        </p:spPr>
        <p:txBody>
          <a:bodyPr wrap="square" lIns="100800" tIns="126000" rIns="100800" bIns="12600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663646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 bwMode="gray">
      <p:bgPr>
        <a:solidFill>
          <a:srgbClr val="D9D9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C4080AD4-1248-42BF-B117-FF7BD2095101}"/>
              </a:ext>
            </a:extLst>
          </p:cNvPr>
          <p:cNvSpPr/>
          <p:nvPr userDrawn="1"/>
        </p:nvSpPr>
        <p:spPr>
          <a:xfrm>
            <a:off x="-1803401" y="-1816100"/>
            <a:ext cx="12750800" cy="8775700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466851DF-CDE1-45E4-B481-6864BF0B46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9144000" cy="5143500"/>
          </a:xfrm>
          <a:custGeom>
            <a:avLst/>
            <a:gdLst>
              <a:gd name="connsiteX0" fmla="*/ 0 w 9144000"/>
              <a:gd name="connsiteY0" fmla="*/ 0 h 5143500"/>
              <a:gd name="connsiteX1" fmla="*/ 5138383 w 9144000"/>
              <a:gd name="connsiteY1" fmla="*/ 0 h 5143500"/>
              <a:gd name="connsiteX2" fmla="*/ 9144000 w 9144000"/>
              <a:gd name="connsiteY2" fmla="*/ 4005615 h 5143500"/>
              <a:gd name="connsiteX3" fmla="*/ 9144000 w 9144000"/>
              <a:gd name="connsiteY3" fmla="*/ 5143500 h 5143500"/>
              <a:gd name="connsiteX4" fmla="*/ 0 w 9144000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5143500">
                <a:moveTo>
                  <a:pt x="0" y="0"/>
                </a:moveTo>
                <a:lnTo>
                  <a:pt x="5138383" y="0"/>
                </a:lnTo>
                <a:lnTo>
                  <a:pt x="9144000" y="4005615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0" name="Right Triangle 39">
            <a:extLst>
              <a:ext uri="{FF2B5EF4-FFF2-40B4-BE49-F238E27FC236}">
                <a16:creationId xmlns:a16="http://schemas.microsoft.com/office/drawing/2014/main" id="{C4D88B44-6923-4A8C-9C25-9A25EAE0D72E}"/>
              </a:ext>
            </a:extLst>
          </p:cNvPr>
          <p:cNvSpPr/>
          <p:nvPr userDrawn="1"/>
        </p:nvSpPr>
        <p:spPr>
          <a:xfrm flipH="1" flipV="1">
            <a:off x="5138382" y="-1"/>
            <a:ext cx="4005618" cy="4005616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GB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9999" y="3062010"/>
            <a:ext cx="4672800" cy="1620000"/>
          </a:xfrm>
          <a:prstGeom prst="snip2DiagRect">
            <a:avLst>
              <a:gd name="adj1" fmla="val 15875"/>
              <a:gd name="adj2" fmla="val 0"/>
            </a:avLst>
          </a:prstGeom>
          <a:solidFill>
            <a:schemeClr val="bg1">
              <a:alpha val="90000"/>
            </a:schemeClr>
          </a:solidFill>
        </p:spPr>
        <p:txBody>
          <a:bodyPr wrap="square" lIns="108000" tIns="108000" rIns="10800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ct val="80000"/>
              </a:lnSpc>
              <a:spcBef>
                <a:spcPts val="0"/>
              </a:spcBef>
              <a:defRPr lang="en-GB" sz="30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01199" y="4069365"/>
            <a:ext cx="4431600" cy="612645"/>
          </a:xfrm>
          <a:noFill/>
        </p:spPr>
        <p:txBody>
          <a:bodyPr wrap="square" lIns="0" tIns="0" rIns="0" bIns="16200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14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subtitle style</a:t>
            </a:r>
            <a:endParaRPr lang="en-GB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B0DBAD6-3F35-468A-9602-267769C710D8}"/>
              </a:ext>
            </a:extLst>
          </p:cNvPr>
          <p:cNvGrpSpPr/>
          <p:nvPr userDrawn="1"/>
        </p:nvGrpSpPr>
        <p:grpSpPr>
          <a:xfrm>
            <a:off x="9203090" y="4682010"/>
            <a:ext cx="1530000" cy="461490"/>
            <a:chOff x="9203090" y="4682010"/>
            <a:chExt cx="1440002" cy="461490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E9D52B4-A941-4934-AD9B-7B5BA1C97A50}"/>
                </a:ext>
              </a:extLst>
            </p:cNvPr>
            <p:cNvCxnSpPr/>
            <p:nvPr/>
          </p:nvCxnSpPr>
          <p:spPr bwMode="gray">
            <a:xfrm flipH="1">
              <a:off x="9203092" y="5143500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E9413AD9-6BE1-4A5D-8CDB-D4B7292DF23F}"/>
                </a:ext>
              </a:extLst>
            </p:cNvPr>
            <p:cNvCxnSpPr/>
            <p:nvPr/>
          </p:nvCxnSpPr>
          <p:spPr bwMode="gray">
            <a:xfrm flipH="1">
              <a:off x="9203092" y="4682010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280614E-0C52-4941-8067-C4E0E6114F03}"/>
                </a:ext>
              </a:extLst>
            </p:cNvPr>
            <p:cNvSpPr/>
            <p:nvPr/>
          </p:nvSpPr>
          <p:spPr bwMode="gray">
            <a:xfrm flipH="1">
              <a:off x="9203090" y="4721225"/>
              <a:ext cx="1439999" cy="422274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54000" rIns="108000" bIns="54000" rtlCol="0" anchor="b" anchorCtr="0">
              <a:noAutofit/>
            </a:bodyPr>
            <a:lstStyle/>
            <a:p>
              <a:pPr algn="l"/>
              <a:r>
                <a:rPr lang="en-US" sz="1000" b="0">
                  <a:solidFill>
                    <a:schemeClr val="tx1"/>
                  </a:solidFill>
                </a:rPr>
                <a:t>Logo margin bottom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238DB93-241B-43B2-AAD6-872AB5598331}"/>
              </a:ext>
            </a:extLst>
          </p:cNvPr>
          <p:cNvGrpSpPr/>
          <p:nvPr userDrawn="1"/>
        </p:nvGrpSpPr>
        <p:grpSpPr>
          <a:xfrm>
            <a:off x="8801099" y="5203311"/>
            <a:ext cx="342904" cy="1530000"/>
            <a:chOff x="8801099" y="5203311"/>
            <a:chExt cx="342904" cy="1440000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7B79566-831A-4FB4-A7A0-6C823FB4EB30}"/>
                </a:ext>
              </a:extLst>
            </p:cNvPr>
            <p:cNvCxnSpPr/>
            <p:nvPr/>
          </p:nvCxnSpPr>
          <p:spPr bwMode="gray">
            <a:xfrm rot="5400000" flipH="1">
              <a:off x="8081575" y="5923311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07DB0C3-4D42-479D-8E40-280BC626EF93}"/>
                </a:ext>
              </a:extLst>
            </p:cNvPr>
            <p:cNvCxnSpPr/>
            <p:nvPr/>
          </p:nvCxnSpPr>
          <p:spPr bwMode="gray">
            <a:xfrm rot="5400000" flipH="1">
              <a:off x="8424003" y="5923311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1D782735-8D0D-42AE-A823-AF45C1DEEF98}"/>
                </a:ext>
              </a:extLst>
            </p:cNvPr>
            <p:cNvSpPr/>
            <p:nvPr/>
          </p:nvSpPr>
          <p:spPr bwMode="gray">
            <a:xfrm rot="5400000" flipH="1">
              <a:off x="8251993" y="5752418"/>
              <a:ext cx="1439999" cy="341787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54000" rIns="108000" bIns="54000" rtlCol="0" anchor="b" anchorCtr="0">
              <a:noAutofit/>
            </a:bodyPr>
            <a:lstStyle/>
            <a:p>
              <a:pPr algn="l"/>
              <a:r>
                <a:rPr lang="en-US" sz="1000" b="0">
                  <a:solidFill>
                    <a:schemeClr val="tx1"/>
                  </a:solidFill>
                </a:rPr>
                <a:t>Logo margin right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877F479E-C567-4B93-8B6E-A2FC6A313C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557960" y="381004"/>
            <a:ext cx="2232000" cy="328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0282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Header and circles 4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4BC2EB70-D3B0-48D3-A2B6-BCB15FB444A7}"/>
              </a:ext>
            </a:extLst>
          </p:cNvPr>
          <p:cNvSpPr/>
          <p:nvPr userDrawn="1"/>
        </p:nvSpPr>
        <p:spPr>
          <a:xfrm>
            <a:off x="-1803401" y="-1816100"/>
            <a:ext cx="12750800" cy="8775700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460844D6-DD6E-471B-A76D-4769B5776D21}"/>
              </a:ext>
            </a:extLst>
          </p:cNvPr>
          <p:cNvSpPr/>
          <p:nvPr userDrawn="1"/>
        </p:nvSpPr>
        <p:spPr>
          <a:xfrm>
            <a:off x="7013813" y="157163"/>
            <a:ext cx="1782000" cy="417546"/>
          </a:xfrm>
          <a:prstGeom prst="rect">
            <a:avLst/>
          </a:prstGeom>
          <a:gradFill flip="none" rotWithShape="1">
            <a:gsLst>
              <a:gs pos="0">
                <a:srgbClr val="005192"/>
              </a:gs>
              <a:gs pos="100000">
                <a:srgbClr val="008BC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  <p:sp>
        <p:nvSpPr>
          <p:cNvPr id="57" name="Picture Placeholder 56"/>
          <p:cNvSpPr>
            <a:spLocks noGrp="1"/>
          </p:cNvSpPr>
          <p:nvPr>
            <p:ph type="pic" sz="quarter" idx="17"/>
          </p:nvPr>
        </p:nvSpPr>
        <p:spPr bwMode="gray">
          <a:xfrm>
            <a:off x="1" y="-900"/>
            <a:ext cx="9143999" cy="5144400"/>
          </a:xfrm>
          <a:custGeom>
            <a:avLst/>
            <a:gdLst>
              <a:gd name="connsiteX0" fmla="*/ 8398022 w 9143999"/>
              <a:gd name="connsiteY0" fmla="*/ 345388 h 5144400"/>
              <a:gd name="connsiteX1" fmla="*/ 8441303 w 9143999"/>
              <a:gd name="connsiteY1" fmla="*/ 397979 h 5144400"/>
              <a:gd name="connsiteX2" fmla="*/ 8391839 w 9143999"/>
              <a:gd name="connsiteY2" fmla="*/ 466038 h 5144400"/>
              <a:gd name="connsiteX3" fmla="*/ 8382565 w 9143999"/>
              <a:gd name="connsiteY3" fmla="*/ 466038 h 5144400"/>
              <a:gd name="connsiteX4" fmla="*/ 8382565 w 9143999"/>
              <a:gd name="connsiteY4" fmla="*/ 348482 h 5144400"/>
              <a:gd name="connsiteX5" fmla="*/ 8398022 w 9143999"/>
              <a:gd name="connsiteY5" fmla="*/ 345388 h 5144400"/>
              <a:gd name="connsiteX6" fmla="*/ 8194405 w 9143999"/>
              <a:gd name="connsiteY6" fmla="*/ 339038 h 5144400"/>
              <a:gd name="connsiteX7" fmla="*/ 8222228 w 9143999"/>
              <a:gd name="connsiteY7" fmla="*/ 404046 h 5144400"/>
              <a:gd name="connsiteX8" fmla="*/ 8194405 w 9143999"/>
              <a:gd name="connsiteY8" fmla="*/ 462863 h 5144400"/>
              <a:gd name="connsiteX9" fmla="*/ 8163490 w 9143999"/>
              <a:gd name="connsiteY9" fmla="*/ 400951 h 5144400"/>
              <a:gd name="connsiteX10" fmla="*/ 8194405 w 9143999"/>
              <a:gd name="connsiteY10" fmla="*/ 339038 h 5144400"/>
              <a:gd name="connsiteX11" fmla="*/ 7739627 w 9143999"/>
              <a:gd name="connsiteY11" fmla="*/ 339038 h 5144400"/>
              <a:gd name="connsiteX12" fmla="*/ 7768202 w 9143999"/>
              <a:gd name="connsiteY12" fmla="*/ 404046 h 5144400"/>
              <a:gd name="connsiteX13" fmla="*/ 7739627 w 9143999"/>
              <a:gd name="connsiteY13" fmla="*/ 462863 h 5144400"/>
              <a:gd name="connsiteX14" fmla="*/ 7711052 w 9143999"/>
              <a:gd name="connsiteY14" fmla="*/ 400951 h 5144400"/>
              <a:gd name="connsiteX15" fmla="*/ 7739627 w 9143999"/>
              <a:gd name="connsiteY15" fmla="*/ 339038 h 5144400"/>
              <a:gd name="connsiteX16" fmla="*/ 8619102 w 9143999"/>
              <a:gd name="connsiteY16" fmla="*/ 335863 h 5144400"/>
              <a:gd name="connsiteX17" fmla="*/ 8650852 w 9143999"/>
              <a:gd name="connsiteY17" fmla="*/ 378725 h 5144400"/>
              <a:gd name="connsiteX18" fmla="*/ 8590527 w 9143999"/>
              <a:gd name="connsiteY18" fmla="*/ 378725 h 5144400"/>
              <a:gd name="connsiteX19" fmla="*/ 8619102 w 9143999"/>
              <a:gd name="connsiteY19" fmla="*/ 335863 h 5144400"/>
              <a:gd name="connsiteX20" fmla="*/ 7121217 w 9143999"/>
              <a:gd name="connsiteY20" fmla="*/ 308875 h 5144400"/>
              <a:gd name="connsiteX21" fmla="*/ 7149078 w 9143999"/>
              <a:gd name="connsiteY21" fmla="*/ 410475 h 5144400"/>
              <a:gd name="connsiteX22" fmla="*/ 7087165 w 9143999"/>
              <a:gd name="connsiteY22" fmla="*/ 410475 h 5144400"/>
              <a:gd name="connsiteX23" fmla="*/ 7121217 w 9143999"/>
              <a:gd name="connsiteY23" fmla="*/ 308875 h 5144400"/>
              <a:gd name="connsiteX24" fmla="*/ 7471280 w 9143999"/>
              <a:gd name="connsiteY24" fmla="*/ 305701 h 5144400"/>
              <a:gd name="connsiteX25" fmla="*/ 7471280 w 9143999"/>
              <a:gd name="connsiteY25" fmla="*/ 336410 h 5144400"/>
              <a:gd name="connsiteX26" fmla="*/ 7539787 w 9143999"/>
              <a:gd name="connsiteY26" fmla="*/ 336410 h 5144400"/>
              <a:gd name="connsiteX27" fmla="*/ 7474394 w 9143999"/>
              <a:gd name="connsiteY27" fmla="*/ 465388 h 5144400"/>
              <a:gd name="connsiteX28" fmla="*/ 7471280 w 9143999"/>
              <a:gd name="connsiteY28" fmla="*/ 493026 h 5144400"/>
              <a:gd name="connsiteX29" fmla="*/ 7608294 w 9143999"/>
              <a:gd name="connsiteY29" fmla="*/ 493026 h 5144400"/>
              <a:gd name="connsiteX30" fmla="*/ 7630091 w 9143999"/>
              <a:gd name="connsiteY30" fmla="*/ 471529 h 5144400"/>
              <a:gd name="connsiteX31" fmla="*/ 7630091 w 9143999"/>
              <a:gd name="connsiteY31" fmla="*/ 459246 h 5144400"/>
              <a:gd name="connsiteX32" fmla="*/ 7592724 w 9143999"/>
              <a:gd name="connsiteY32" fmla="*/ 462317 h 5144400"/>
              <a:gd name="connsiteX33" fmla="*/ 7549129 w 9143999"/>
              <a:gd name="connsiteY33" fmla="*/ 462317 h 5144400"/>
              <a:gd name="connsiteX34" fmla="*/ 7626977 w 9143999"/>
              <a:gd name="connsiteY34" fmla="*/ 305701 h 5144400"/>
              <a:gd name="connsiteX35" fmla="*/ 7471280 w 9143999"/>
              <a:gd name="connsiteY35" fmla="*/ 305701 h 5144400"/>
              <a:gd name="connsiteX36" fmla="*/ 8622169 w 9143999"/>
              <a:gd name="connsiteY36" fmla="*/ 305700 h 5144400"/>
              <a:gd name="connsiteX37" fmla="*/ 8525441 w 9143999"/>
              <a:gd name="connsiteY37" fmla="*/ 397827 h 5144400"/>
              <a:gd name="connsiteX38" fmla="*/ 8619049 w 9143999"/>
              <a:gd name="connsiteY38" fmla="*/ 493025 h 5144400"/>
              <a:gd name="connsiteX39" fmla="*/ 8697055 w 9143999"/>
              <a:gd name="connsiteY39" fmla="*/ 434678 h 5144400"/>
              <a:gd name="connsiteX40" fmla="*/ 8644011 w 9143999"/>
              <a:gd name="connsiteY40" fmla="*/ 450033 h 5144400"/>
              <a:gd name="connsiteX41" fmla="*/ 8590966 w 9143999"/>
              <a:gd name="connsiteY41" fmla="*/ 403969 h 5144400"/>
              <a:gd name="connsiteX42" fmla="*/ 8706416 w 9143999"/>
              <a:gd name="connsiteY42" fmla="*/ 403969 h 5144400"/>
              <a:gd name="connsiteX43" fmla="*/ 8706416 w 9143999"/>
              <a:gd name="connsiteY43" fmla="*/ 382473 h 5144400"/>
              <a:gd name="connsiteX44" fmla="*/ 8622169 w 9143999"/>
              <a:gd name="connsiteY44" fmla="*/ 305700 h 5144400"/>
              <a:gd name="connsiteX45" fmla="*/ 8195215 w 9143999"/>
              <a:gd name="connsiteY45" fmla="*/ 305700 h 5144400"/>
              <a:gd name="connsiteX46" fmla="*/ 8098403 w 9143999"/>
              <a:gd name="connsiteY46" fmla="*/ 403969 h 5144400"/>
              <a:gd name="connsiteX47" fmla="*/ 8192092 w 9143999"/>
              <a:gd name="connsiteY47" fmla="*/ 493025 h 5144400"/>
              <a:gd name="connsiteX48" fmla="*/ 8288903 w 9143999"/>
              <a:gd name="connsiteY48" fmla="*/ 394756 h 5144400"/>
              <a:gd name="connsiteX49" fmla="*/ 8195215 w 9143999"/>
              <a:gd name="connsiteY49" fmla="*/ 305700 h 5144400"/>
              <a:gd name="connsiteX50" fmla="*/ 7739629 w 9143999"/>
              <a:gd name="connsiteY50" fmla="*/ 305700 h 5144400"/>
              <a:gd name="connsiteX51" fmla="*/ 7639616 w 9143999"/>
              <a:gd name="connsiteY51" fmla="*/ 403969 h 5144400"/>
              <a:gd name="connsiteX52" fmla="*/ 7739629 w 9143999"/>
              <a:gd name="connsiteY52" fmla="*/ 493025 h 5144400"/>
              <a:gd name="connsiteX53" fmla="*/ 7839641 w 9143999"/>
              <a:gd name="connsiteY53" fmla="*/ 394757 h 5144400"/>
              <a:gd name="connsiteX54" fmla="*/ 7739629 w 9143999"/>
              <a:gd name="connsiteY54" fmla="*/ 305700 h 5144400"/>
              <a:gd name="connsiteX55" fmla="*/ 7102867 w 9143999"/>
              <a:gd name="connsiteY55" fmla="*/ 256489 h 5144400"/>
              <a:gd name="connsiteX56" fmla="*/ 7018903 w 9143999"/>
              <a:gd name="connsiteY56" fmla="*/ 493026 h 5144400"/>
              <a:gd name="connsiteX57" fmla="*/ 7056220 w 9143999"/>
              <a:gd name="connsiteY57" fmla="*/ 493026 h 5144400"/>
              <a:gd name="connsiteX58" fmla="*/ 7077989 w 9143999"/>
              <a:gd name="connsiteY58" fmla="*/ 434659 h 5144400"/>
              <a:gd name="connsiteX59" fmla="*/ 7158843 w 9143999"/>
              <a:gd name="connsiteY59" fmla="*/ 434659 h 5144400"/>
              <a:gd name="connsiteX60" fmla="*/ 7171282 w 9143999"/>
              <a:gd name="connsiteY60" fmla="*/ 471522 h 5144400"/>
              <a:gd name="connsiteX61" fmla="*/ 7196160 w 9143999"/>
              <a:gd name="connsiteY61" fmla="*/ 493026 h 5144400"/>
              <a:gd name="connsiteX62" fmla="*/ 7245916 w 9143999"/>
              <a:gd name="connsiteY62" fmla="*/ 493026 h 5144400"/>
              <a:gd name="connsiteX63" fmla="*/ 7239697 w 9143999"/>
              <a:gd name="connsiteY63" fmla="*/ 477666 h 5144400"/>
              <a:gd name="connsiteX64" fmla="*/ 7180611 w 9143999"/>
              <a:gd name="connsiteY64" fmla="*/ 290280 h 5144400"/>
              <a:gd name="connsiteX65" fmla="*/ 7133965 w 9143999"/>
              <a:gd name="connsiteY65" fmla="*/ 256489 h 5144400"/>
              <a:gd name="connsiteX66" fmla="*/ 7102867 w 9143999"/>
              <a:gd name="connsiteY66" fmla="*/ 256489 h 5144400"/>
              <a:gd name="connsiteX67" fmla="*/ 7866628 w 9143999"/>
              <a:gd name="connsiteY67" fmla="*/ 256488 h 5144400"/>
              <a:gd name="connsiteX68" fmla="*/ 7866628 w 9143999"/>
              <a:gd name="connsiteY68" fmla="*/ 493025 h 5144400"/>
              <a:gd name="connsiteX69" fmla="*/ 7907268 w 9143999"/>
              <a:gd name="connsiteY69" fmla="*/ 493025 h 5144400"/>
              <a:gd name="connsiteX70" fmla="*/ 7907268 w 9143999"/>
              <a:gd name="connsiteY70" fmla="*/ 345574 h 5144400"/>
              <a:gd name="connsiteX71" fmla="*/ 8004179 w 9143999"/>
              <a:gd name="connsiteY71" fmla="*/ 462306 h 5144400"/>
              <a:gd name="connsiteX72" fmla="*/ 8041693 w 9143999"/>
              <a:gd name="connsiteY72" fmla="*/ 493025 h 5144400"/>
              <a:gd name="connsiteX73" fmla="*/ 8069828 w 9143999"/>
              <a:gd name="connsiteY73" fmla="*/ 493025 h 5144400"/>
              <a:gd name="connsiteX74" fmla="*/ 8069828 w 9143999"/>
              <a:gd name="connsiteY74" fmla="*/ 277992 h 5144400"/>
              <a:gd name="connsiteX75" fmla="*/ 8047945 w 9143999"/>
              <a:gd name="connsiteY75" fmla="*/ 256488 h 5144400"/>
              <a:gd name="connsiteX76" fmla="*/ 8029188 w 9143999"/>
              <a:gd name="connsiteY76" fmla="*/ 256488 h 5144400"/>
              <a:gd name="connsiteX77" fmla="*/ 8029188 w 9143999"/>
              <a:gd name="connsiteY77" fmla="*/ 400868 h 5144400"/>
              <a:gd name="connsiteX78" fmla="*/ 7938530 w 9143999"/>
              <a:gd name="connsiteY78" fmla="*/ 284136 h 5144400"/>
              <a:gd name="connsiteX79" fmla="*/ 7894764 w 9143999"/>
              <a:gd name="connsiteY79" fmla="*/ 256488 h 5144400"/>
              <a:gd name="connsiteX80" fmla="*/ 7866628 w 9143999"/>
              <a:gd name="connsiteY80" fmla="*/ 256488 h 5144400"/>
              <a:gd name="connsiteX81" fmla="*/ 8738166 w 9143999"/>
              <a:gd name="connsiteY81" fmla="*/ 237438 h 5144400"/>
              <a:gd name="connsiteX82" fmla="*/ 8738166 w 9143999"/>
              <a:gd name="connsiteY82" fmla="*/ 493025 h 5144400"/>
              <a:gd name="connsiteX83" fmla="*/ 8793729 w 9143999"/>
              <a:gd name="connsiteY83" fmla="*/ 493025 h 5144400"/>
              <a:gd name="connsiteX84" fmla="*/ 8793729 w 9143999"/>
              <a:gd name="connsiteY84" fmla="*/ 274390 h 5144400"/>
              <a:gd name="connsiteX85" fmla="*/ 8759774 w 9143999"/>
              <a:gd name="connsiteY85" fmla="*/ 237438 h 5144400"/>
              <a:gd name="connsiteX86" fmla="*/ 8738166 w 9143999"/>
              <a:gd name="connsiteY86" fmla="*/ 237438 h 5144400"/>
              <a:gd name="connsiteX87" fmla="*/ 8315891 w 9143999"/>
              <a:gd name="connsiteY87" fmla="*/ 237438 h 5144400"/>
              <a:gd name="connsiteX88" fmla="*/ 8315891 w 9143999"/>
              <a:gd name="connsiteY88" fmla="*/ 493025 h 5144400"/>
              <a:gd name="connsiteX89" fmla="*/ 8393965 w 9143999"/>
              <a:gd name="connsiteY89" fmla="*/ 493025 h 5144400"/>
              <a:gd name="connsiteX90" fmla="*/ 8506391 w 9143999"/>
              <a:gd name="connsiteY90" fmla="*/ 388327 h 5144400"/>
              <a:gd name="connsiteX91" fmla="*/ 8431440 w 9143999"/>
              <a:gd name="connsiteY91" fmla="*/ 308263 h 5144400"/>
              <a:gd name="connsiteX92" fmla="*/ 8381473 w 9143999"/>
              <a:gd name="connsiteY92" fmla="*/ 326740 h 5144400"/>
              <a:gd name="connsiteX93" fmla="*/ 8381473 w 9143999"/>
              <a:gd name="connsiteY93" fmla="*/ 274391 h 5144400"/>
              <a:gd name="connsiteX94" fmla="*/ 8340875 w 9143999"/>
              <a:gd name="connsiteY94" fmla="*/ 237438 h 5144400"/>
              <a:gd name="connsiteX95" fmla="*/ 8315891 w 9143999"/>
              <a:gd name="connsiteY95" fmla="*/ 237438 h 5144400"/>
              <a:gd name="connsiteX96" fmla="*/ 7268141 w 9143999"/>
              <a:gd name="connsiteY96" fmla="*/ 237438 h 5144400"/>
              <a:gd name="connsiteX97" fmla="*/ 7268141 w 9143999"/>
              <a:gd name="connsiteY97" fmla="*/ 493025 h 5144400"/>
              <a:gd name="connsiteX98" fmla="*/ 7333229 w 9143999"/>
              <a:gd name="connsiteY98" fmla="*/ 493025 h 5144400"/>
              <a:gd name="connsiteX99" fmla="*/ 7333229 w 9143999"/>
              <a:gd name="connsiteY99" fmla="*/ 420859 h 5144400"/>
              <a:gd name="connsiteX100" fmla="*/ 7333229 w 9143999"/>
              <a:gd name="connsiteY100" fmla="*/ 394758 h 5144400"/>
              <a:gd name="connsiteX101" fmla="*/ 7354980 w 9143999"/>
              <a:gd name="connsiteY101" fmla="*/ 433815 h 5144400"/>
              <a:gd name="connsiteX102" fmla="*/ 7370852 w 9143999"/>
              <a:gd name="connsiteY102" fmla="*/ 462317 h 5144400"/>
              <a:gd name="connsiteX103" fmla="*/ 7405341 w 9143999"/>
              <a:gd name="connsiteY103" fmla="*/ 493026 h 5144400"/>
              <a:gd name="connsiteX104" fmla="*/ 7458641 w 9143999"/>
              <a:gd name="connsiteY104" fmla="*/ 493026 h 5144400"/>
              <a:gd name="connsiteX105" fmla="*/ 7446100 w 9143999"/>
              <a:gd name="connsiteY105" fmla="*/ 477671 h 5144400"/>
              <a:gd name="connsiteX106" fmla="*/ 7395935 w 9143999"/>
              <a:gd name="connsiteY106" fmla="*/ 379402 h 5144400"/>
              <a:gd name="connsiteX107" fmla="*/ 7455506 w 9143999"/>
              <a:gd name="connsiteY107" fmla="*/ 305701 h 5144400"/>
              <a:gd name="connsiteX108" fmla="*/ 7402205 w 9143999"/>
              <a:gd name="connsiteY108" fmla="*/ 305701 h 5144400"/>
              <a:gd name="connsiteX109" fmla="*/ 7334306 w 9143999"/>
              <a:gd name="connsiteY109" fmla="*/ 393365 h 5144400"/>
              <a:gd name="connsiteX110" fmla="*/ 7333229 w 9143999"/>
              <a:gd name="connsiteY110" fmla="*/ 394755 h 5144400"/>
              <a:gd name="connsiteX111" fmla="*/ 7333229 w 9143999"/>
              <a:gd name="connsiteY111" fmla="*/ 366627 h 5144400"/>
              <a:gd name="connsiteX112" fmla="*/ 7333229 w 9143999"/>
              <a:gd name="connsiteY112" fmla="*/ 274391 h 5144400"/>
              <a:gd name="connsiteX113" fmla="*/ 7289837 w 9143999"/>
              <a:gd name="connsiteY113" fmla="*/ 237438 h 5144400"/>
              <a:gd name="connsiteX114" fmla="*/ 7268141 w 9143999"/>
              <a:gd name="connsiteY114" fmla="*/ 237438 h 5144400"/>
              <a:gd name="connsiteX115" fmla="*/ 8932543 w 9143999"/>
              <a:gd name="connsiteY115" fmla="*/ 0 h 5144400"/>
              <a:gd name="connsiteX116" fmla="*/ 9143999 w 9143999"/>
              <a:gd name="connsiteY116" fmla="*/ 0 h 5144400"/>
              <a:gd name="connsiteX117" fmla="*/ 9143999 w 9143999"/>
              <a:gd name="connsiteY117" fmla="*/ 5144400 h 5144400"/>
              <a:gd name="connsiteX118" fmla="*/ 9027314 w 9143999"/>
              <a:gd name="connsiteY118" fmla="*/ 5144400 h 5144400"/>
              <a:gd name="connsiteX119" fmla="*/ 9009627 w 9143999"/>
              <a:gd name="connsiteY119" fmla="*/ 5144400 h 5144400"/>
              <a:gd name="connsiteX120" fmla="*/ 8932543 w 9143999"/>
              <a:gd name="connsiteY120" fmla="*/ 5144400 h 5144400"/>
              <a:gd name="connsiteX121" fmla="*/ 8853155 w 9143999"/>
              <a:gd name="connsiteY121" fmla="*/ 5144400 h 5144400"/>
              <a:gd name="connsiteX122" fmla="*/ 0 w 9143999"/>
              <a:gd name="connsiteY122" fmla="*/ 5144400 h 5144400"/>
              <a:gd name="connsiteX123" fmla="*/ 0 w 9143999"/>
              <a:gd name="connsiteY123" fmla="*/ 902 h 5144400"/>
              <a:gd name="connsiteX124" fmla="*/ 8853155 w 9143999"/>
              <a:gd name="connsiteY124" fmla="*/ 902 h 5144400"/>
              <a:gd name="connsiteX125" fmla="*/ 8853155 w 9143999"/>
              <a:gd name="connsiteY125" fmla="*/ 900 h 5144400"/>
              <a:gd name="connsiteX126" fmla="*/ 8932543 w 9143999"/>
              <a:gd name="connsiteY126" fmla="*/ 9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5144400">
                <a:moveTo>
                  <a:pt x="8398022" y="345388"/>
                </a:moveTo>
                <a:cubicBezTo>
                  <a:pt x="8419663" y="345388"/>
                  <a:pt x="8441303" y="367043"/>
                  <a:pt x="8441303" y="397979"/>
                </a:cubicBezTo>
                <a:cubicBezTo>
                  <a:pt x="8441303" y="441289"/>
                  <a:pt x="8422754" y="466038"/>
                  <a:pt x="8391839" y="466038"/>
                </a:cubicBezTo>
                <a:cubicBezTo>
                  <a:pt x="8382565" y="466038"/>
                  <a:pt x="8382565" y="466038"/>
                  <a:pt x="8382565" y="466038"/>
                </a:cubicBezTo>
                <a:cubicBezTo>
                  <a:pt x="8382565" y="348482"/>
                  <a:pt x="8382565" y="348482"/>
                  <a:pt x="8382565" y="348482"/>
                </a:cubicBezTo>
                <a:cubicBezTo>
                  <a:pt x="8385656" y="345388"/>
                  <a:pt x="8388748" y="345388"/>
                  <a:pt x="8398022" y="345388"/>
                </a:cubicBezTo>
                <a:close/>
                <a:moveTo>
                  <a:pt x="8194405" y="339038"/>
                </a:moveTo>
                <a:cubicBezTo>
                  <a:pt x="8212954" y="339038"/>
                  <a:pt x="8222228" y="366899"/>
                  <a:pt x="8222228" y="404046"/>
                </a:cubicBezTo>
                <a:cubicBezTo>
                  <a:pt x="8222228" y="441194"/>
                  <a:pt x="8212954" y="462863"/>
                  <a:pt x="8194405" y="462863"/>
                </a:cubicBezTo>
                <a:cubicBezTo>
                  <a:pt x="8172765" y="462863"/>
                  <a:pt x="8163490" y="438098"/>
                  <a:pt x="8163490" y="400951"/>
                </a:cubicBezTo>
                <a:cubicBezTo>
                  <a:pt x="8163490" y="363803"/>
                  <a:pt x="8172765" y="339038"/>
                  <a:pt x="8194405" y="339038"/>
                </a:cubicBezTo>
                <a:close/>
                <a:moveTo>
                  <a:pt x="7739627" y="339038"/>
                </a:moveTo>
                <a:cubicBezTo>
                  <a:pt x="7761852" y="339038"/>
                  <a:pt x="7768202" y="366899"/>
                  <a:pt x="7768202" y="404046"/>
                </a:cubicBezTo>
                <a:cubicBezTo>
                  <a:pt x="7768202" y="441194"/>
                  <a:pt x="7761852" y="462863"/>
                  <a:pt x="7739627" y="462863"/>
                </a:cubicBezTo>
                <a:cubicBezTo>
                  <a:pt x="7717402" y="462863"/>
                  <a:pt x="7711052" y="438098"/>
                  <a:pt x="7711052" y="400951"/>
                </a:cubicBezTo>
                <a:cubicBezTo>
                  <a:pt x="7711052" y="363803"/>
                  <a:pt x="7717402" y="339038"/>
                  <a:pt x="7739627" y="339038"/>
                </a:cubicBezTo>
                <a:close/>
                <a:moveTo>
                  <a:pt x="8619102" y="335863"/>
                </a:moveTo>
                <a:cubicBezTo>
                  <a:pt x="8644502" y="335863"/>
                  <a:pt x="8650852" y="378725"/>
                  <a:pt x="8650852" y="378725"/>
                </a:cubicBezTo>
                <a:cubicBezTo>
                  <a:pt x="8590527" y="378725"/>
                  <a:pt x="8590527" y="378725"/>
                  <a:pt x="8590527" y="378725"/>
                </a:cubicBezTo>
                <a:cubicBezTo>
                  <a:pt x="8590527" y="354233"/>
                  <a:pt x="8600052" y="335863"/>
                  <a:pt x="8619102" y="335863"/>
                </a:cubicBezTo>
                <a:close/>
                <a:moveTo>
                  <a:pt x="7121217" y="308875"/>
                </a:moveTo>
                <a:cubicBezTo>
                  <a:pt x="7149078" y="410475"/>
                  <a:pt x="7149078" y="410475"/>
                  <a:pt x="7149078" y="410475"/>
                </a:cubicBezTo>
                <a:cubicBezTo>
                  <a:pt x="7087165" y="410475"/>
                  <a:pt x="7087165" y="410475"/>
                  <a:pt x="7087165" y="410475"/>
                </a:cubicBezTo>
                <a:cubicBezTo>
                  <a:pt x="7121217" y="308875"/>
                  <a:pt x="7121217" y="308875"/>
                  <a:pt x="7121217" y="308875"/>
                </a:cubicBezTo>
                <a:close/>
                <a:moveTo>
                  <a:pt x="7471280" y="305701"/>
                </a:moveTo>
                <a:cubicBezTo>
                  <a:pt x="7471280" y="336410"/>
                  <a:pt x="7471280" y="336410"/>
                  <a:pt x="7471280" y="336410"/>
                </a:cubicBezTo>
                <a:cubicBezTo>
                  <a:pt x="7539787" y="336410"/>
                  <a:pt x="7539787" y="336410"/>
                  <a:pt x="7539787" y="336410"/>
                </a:cubicBezTo>
                <a:cubicBezTo>
                  <a:pt x="7474394" y="465388"/>
                  <a:pt x="7474394" y="465388"/>
                  <a:pt x="7474394" y="465388"/>
                </a:cubicBezTo>
                <a:cubicBezTo>
                  <a:pt x="7468166" y="477671"/>
                  <a:pt x="7468166" y="486884"/>
                  <a:pt x="7471280" y="493026"/>
                </a:cubicBezTo>
                <a:cubicBezTo>
                  <a:pt x="7608294" y="493026"/>
                  <a:pt x="7608294" y="493026"/>
                  <a:pt x="7608294" y="493026"/>
                </a:cubicBezTo>
                <a:cubicBezTo>
                  <a:pt x="7620749" y="493026"/>
                  <a:pt x="7630091" y="483813"/>
                  <a:pt x="7630091" y="471529"/>
                </a:cubicBezTo>
                <a:cubicBezTo>
                  <a:pt x="7630091" y="459246"/>
                  <a:pt x="7630091" y="459246"/>
                  <a:pt x="7630091" y="459246"/>
                </a:cubicBezTo>
                <a:cubicBezTo>
                  <a:pt x="7623863" y="462317"/>
                  <a:pt x="7614522" y="462317"/>
                  <a:pt x="7592724" y="462317"/>
                </a:cubicBezTo>
                <a:cubicBezTo>
                  <a:pt x="7549129" y="462317"/>
                  <a:pt x="7549129" y="462317"/>
                  <a:pt x="7549129" y="462317"/>
                </a:cubicBezTo>
                <a:cubicBezTo>
                  <a:pt x="7626977" y="305701"/>
                  <a:pt x="7626977" y="305701"/>
                  <a:pt x="7626977" y="305701"/>
                </a:cubicBezTo>
                <a:cubicBezTo>
                  <a:pt x="7471280" y="305701"/>
                  <a:pt x="7471280" y="305701"/>
                  <a:pt x="7471280" y="305701"/>
                </a:cubicBezTo>
                <a:close/>
                <a:moveTo>
                  <a:pt x="8622169" y="305700"/>
                </a:moveTo>
                <a:cubicBezTo>
                  <a:pt x="8566004" y="305700"/>
                  <a:pt x="8525441" y="342551"/>
                  <a:pt x="8525441" y="397827"/>
                </a:cubicBezTo>
                <a:cubicBezTo>
                  <a:pt x="8525441" y="453103"/>
                  <a:pt x="8562884" y="493025"/>
                  <a:pt x="8619049" y="493025"/>
                </a:cubicBezTo>
                <a:cubicBezTo>
                  <a:pt x="8675213" y="493025"/>
                  <a:pt x="8697055" y="462316"/>
                  <a:pt x="8697055" y="434678"/>
                </a:cubicBezTo>
                <a:cubicBezTo>
                  <a:pt x="8684574" y="443891"/>
                  <a:pt x="8665853" y="450033"/>
                  <a:pt x="8644011" y="450033"/>
                </a:cubicBezTo>
                <a:cubicBezTo>
                  <a:pt x="8612808" y="450033"/>
                  <a:pt x="8590966" y="431607"/>
                  <a:pt x="8590966" y="403969"/>
                </a:cubicBezTo>
                <a:cubicBezTo>
                  <a:pt x="8706416" y="403969"/>
                  <a:pt x="8706416" y="403969"/>
                  <a:pt x="8706416" y="403969"/>
                </a:cubicBezTo>
                <a:cubicBezTo>
                  <a:pt x="8706416" y="394756"/>
                  <a:pt x="8706416" y="388615"/>
                  <a:pt x="8706416" y="382473"/>
                </a:cubicBezTo>
                <a:cubicBezTo>
                  <a:pt x="8706416" y="339480"/>
                  <a:pt x="8675213" y="305700"/>
                  <a:pt x="8622169" y="305700"/>
                </a:cubicBezTo>
                <a:close/>
                <a:moveTo>
                  <a:pt x="8195215" y="305700"/>
                </a:moveTo>
                <a:cubicBezTo>
                  <a:pt x="8139002" y="305700"/>
                  <a:pt x="8098403" y="342551"/>
                  <a:pt x="8098403" y="403969"/>
                </a:cubicBezTo>
                <a:cubicBezTo>
                  <a:pt x="8098403" y="456174"/>
                  <a:pt x="8139002" y="493025"/>
                  <a:pt x="8192092" y="493025"/>
                </a:cubicBezTo>
                <a:cubicBezTo>
                  <a:pt x="8245182" y="493025"/>
                  <a:pt x="8288903" y="456174"/>
                  <a:pt x="8288903" y="394756"/>
                </a:cubicBezTo>
                <a:cubicBezTo>
                  <a:pt x="8288903" y="342551"/>
                  <a:pt x="8248305" y="305700"/>
                  <a:pt x="8195215" y="305700"/>
                </a:cubicBezTo>
                <a:close/>
                <a:moveTo>
                  <a:pt x="7739629" y="305700"/>
                </a:moveTo>
                <a:cubicBezTo>
                  <a:pt x="7686497" y="305700"/>
                  <a:pt x="7639616" y="342551"/>
                  <a:pt x="7639616" y="403969"/>
                </a:cubicBezTo>
                <a:cubicBezTo>
                  <a:pt x="7639616" y="456175"/>
                  <a:pt x="7686497" y="493025"/>
                  <a:pt x="7739629" y="493025"/>
                </a:cubicBezTo>
                <a:cubicBezTo>
                  <a:pt x="7792760" y="493025"/>
                  <a:pt x="7839641" y="456175"/>
                  <a:pt x="7839641" y="394757"/>
                </a:cubicBezTo>
                <a:cubicBezTo>
                  <a:pt x="7839641" y="342551"/>
                  <a:pt x="7795886" y="305700"/>
                  <a:pt x="7739629" y="305700"/>
                </a:cubicBezTo>
                <a:close/>
                <a:moveTo>
                  <a:pt x="7102867" y="256489"/>
                </a:moveTo>
                <a:cubicBezTo>
                  <a:pt x="7018903" y="493026"/>
                  <a:pt x="7018903" y="493026"/>
                  <a:pt x="7018903" y="493026"/>
                </a:cubicBezTo>
                <a:cubicBezTo>
                  <a:pt x="7056220" y="493026"/>
                  <a:pt x="7056220" y="493026"/>
                  <a:pt x="7056220" y="493026"/>
                </a:cubicBezTo>
                <a:cubicBezTo>
                  <a:pt x="7077989" y="434659"/>
                  <a:pt x="7077989" y="434659"/>
                  <a:pt x="7077989" y="434659"/>
                </a:cubicBezTo>
                <a:cubicBezTo>
                  <a:pt x="7158843" y="434659"/>
                  <a:pt x="7158843" y="434659"/>
                  <a:pt x="7158843" y="434659"/>
                </a:cubicBezTo>
                <a:cubicBezTo>
                  <a:pt x="7171282" y="471522"/>
                  <a:pt x="7171282" y="471522"/>
                  <a:pt x="7171282" y="471522"/>
                </a:cubicBezTo>
                <a:cubicBezTo>
                  <a:pt x="7177501" y="486882"/>
                  <a:pt x="7180611" y="493026"/>
                  <a:pt x="7196160" y="493026"/>
                </a:cubicBezTo>
                <a:cubicBezTo>
                  <a:pt x="7245916" y="493026"/>
                  <a:pt x="7245916" y="493026"/>
                  <a:pt x="7245916" y="493026"/>
                </a:cubicBezTo>
                <a:cubicBezTo>
                  <a:pt x="7245916" y="489954"/>
                  <a:pt x="7242806" y="486882"/>
                  <a:pt x="7239697" y="477666"/>
                </a:cubicBezTo>
                <a:cubicBezTo>
                  <a:pt x="7180611" y="290280"/>
                  <a:pt x="7180611" y="290280"/>
                  <a:pt x="7180611" y="290280"/>
                </a:cubicBezTo>
                <a:cubicBezTo>
                  <a:pt x="7171282" y="268776"/>
                  <a:pt x="7161953" y="256489"/>
                  <a:pt x="7133965" y="256489"/>
                </a:cubicBezTo>
                <a:cubicBezTo>
                  <a:pt x="7102867" y="256489"/>
                  <a:pt x="7102867" y="256489"/>
                  <a:pt x="7102867" y="256489"/>
                </a:cubicBezTo>
                <a:close/>
                <a:moveTo>
                  <a:pt x="7866628" y="256488"/>
                </a:moveTo>
                <a:cubicBezTo>
                  <a:pt x="7866628" y="493025"/>
                  <a:pt x="7866628" y="493025"/>
                  <a:pt x="7866628" y="493025"/>
                </a:cubicBezTo>
                <a:cubicBezTo>
                  <a:pt x="7907268" y="493025"/>
                  <a:pt x="7907268" y="493025"/>
                  <a:pt x="7907268" y="493025"/>
                </a:cubicBezTo>
                <a:cubicBezTo>
                  <a:pt x="7907268" y="345574"/>
                  <a:pt x="7907268" y="345574"/>
                  <a:pt x="7907268" y="345574"/>
                </a:cubicBezTo>
                <a:cubicBezTo>
                  <a:pt x="8004179" y="462306"/>
                  <a:pt x="8004179" y="462306"/>
                  <a:pt x="8004179" y="462306"/>
                </a:cubicBezTo>
                <a:cubicBezTo>
                  <a:pt x="8016684" y="480738"/>
                  <a:pt x="8026062" y="493025"/>
                  <a:pt x="8041693" y="493025"/>
                </a:cubicBezTo>
                <a:cubicBezTo>
                  <a:pt x="8069828" y="493025"/>
                  <a:pt x="8069828" y="493025"/>
                  <a:pt x="8069828" y="493025"/>
                </a:cubicBezTo>
                <a:cubicBezTo>
                  <a:pt x="8069828" y="277992"/>
                  <a:pt x="8069828" y="277992"/>
                  <a:pt x="8069828" y="277992"/>
                </a:cubicBezTo>
                <a:cubicBezTo>
                  <a:pt x="8069828" y="265704"/>
                  <a:pt x="8060450" y="256488"/>
                  <a:pt x="8047945" y="256488"/>
                </a:cubicBezTo>
                <a:cubicBezTo>
                  <a:pt x="8029188" y="256488"/>
                  <a:pt x="8029188" y="256488"/>
                  <a:pt x="8029188" y="256488"/>
                </a:cubicBezTo>
                <a:cubicBezTo>
                  <a:pt x="8029188" y="400868"/>
                  <a:pt x="8029188" y="400868"/>
                  <a:pt x="8029188" y="400868"/>
                </a:cubicBezTo>
                <a:cubicBezTo>
                  <a:pt x="7938530" y="284136"/>
                  <a:pt x="7938530" y="284136"/>
                  <a:pt x="7938530" y="284136"/>
                </a:cubicBezTo>
                <a:cubicBezTo>
                  <a:pt x="7922899" y="268776"/>
                  <a:pt x="7916647" y="256488"/>
                  <a:pt x="7894764" y="256488"/>
                </a:cubicBezTo>
                <a:cubicBezTo>
                  <a:pt x="7866628" y="256488"/>
                  <a:pt x="7866628" y="256488"/>
                  <a:pt x="7866628" y="256488"/>
                </a:cubicBezTo>
                <a:close/>
                <a:moveTo>
                  <a:pt x="8738166" y="237438"/>
                </a:moveTo>
                <a:cubicBezTo>
                  <a:pt x="8738166" y="493025"/>
                  <a:pt x="8738166" y="493025"/>
                  <a:pt x="8738166" y="493025"/>
                </a:cubicBezTo>
                <a:cubicBezTo>
                  <a:pt x="8793729" y="493025"/>
                  <a:pt x="8793729" y="493025"/>
                  <a:pt x="8793729" y="493025"/>
                </a:cubicBezTo>
                <a:cubicBezTo>
                  <a:pt x="8793729" y="274390"/>
                  <a:pt x="8793729" y="274390"/>
                  <a:pt x="8793729" y="274390"/>
                </a:cubicBezTo>
                <a:cubicBezTo>
                  <a:pt x="8793729" y="252835"/>
                  <a:pt x="8778295" y="237438"/>
                  <a:pt x="8759774" y="237438"/>
                </a:cubicBezTo>
                <a:cubicBezTo>
                  <a:pt x="8738166" y="237438"/>
                  <a:pt x="8738166" y="237438"/>
                  <a:pt x="8738166" y="237438"/>
                </a:cubicBezTo>
                <a:close/>
                <a:moveTo>
                  <a:pt x="8315891" y="237438"/>
                </a:moveTo>
                <a:cubicBezTo>
                  <a:pt x="8315891" y="493025"/>
                  <a:pt x="8315891" y="493025"/>
                  <a:pt x="8315891" y="493025"/>
                </a:cubicBezTo>
                <a:cubicBezTo>
                  <a:pt x="8393965" y="493025"/>
                  <a:pt x="8393965" y="493025"/>
                  <a:pt x="8393965" y="493025"/>
                </a:cubicBezTo>
                <a:cubicBezTo>
                  <a:pt x="8465793" y="493025"/>
                  <a:pt x="8506391" y="456073"/>
                  <a:pt x="8506391" y="388327"/>
                </a:cubicBezTo>
                <a:cubicBezTo>
                  <a:pt x="8506391" y="342136"/>
                  <a:pt x="8475161" y="308263"/>
                  <a:pt x="8431440" y="308263"/>
                </a:cubicBezTo>
                <a:cubicBezTo>
                  <a:pt x="8409580" y="308263"/>
                  <a:pt x="8390842" y="317502"/>
                  <a:pt x="8381473" y="326740"/>
                </a:cubicBezTo>
                <a:cubicBezTo>
                  <a:pt x="8381473" y="274391"/>
                  <a:pt x="8381473" y="274391"/>
                  <a:pt x="8381473" y="274391"/>
                </a:cubicBezTo>
                <a:cubicBezTo>
                  <a:pt x="8381473" y="252835"/>
                  <a:pt x="8362735" y="237438"/>
                  <a:pt x="8340875" y="237438"/>
                </a:cubicBezTo>
                <a:cubicBezTo>
                  <a:pt x="8315891" y="237438"/>
                  <a:pt x="8315891" y="237438"/>
                  <a:pt x="8315891" y="237438"/>
                </a:cubicBezTo>
                <a:close/>
                <a:moveTo>
                  <a:pt x="7268141" y="237438"/>
                </a:moveTo>
                <a:cubicBezTo>
                  <a:pt x="7268141" y="493025"/>
                  <a:pt x="7268141" y="493025"/>
                  <a:pt x="7268141" y="493025"/>
                </a:cubicBezTo>
                <a:cubicBezTo>
                  <a:pt x="7333229" y="493025"/>
                  <a:pt x="7333229" y="493025"/>
                  <a:pt x="7333229" y="493025"/>
                </a:cubicBezTo>
                <a:cubicBezTo>
                  <a:pt x="7333229" y="465696"/>
                  <a:pt x="7333229" y="441783"/>
                  <a:pt x="7333229" y="420859"/>
                </a:cubicBezTo>
                <a:lnTo>
                  <a:pt x="7333229" y="394758"/>
                </a:lnTo>
                <a:lnTo>
                  <a:pt x="7354980" y="433815"/>
                </a:lnTo>
                <a:cubicBezTo>
                  <a:pt x="7370852" y="462317"/>
                  <a:pt x="7370852" y="462317"/>
                  <a:pt x="7370852" y="462317"/>
                </a:cubicBezTo>
                <a:cubicBezTo>
                  <a:pt x="7380258" y="483813"/>
                  <a:pt x="7383393" y="493026"/>
                  <a:pt x="7405341" y="493026"/>
                </a:cubicBezTo>
                <a:cubicBezTo>
                  <a:pt x="7458641" y="493026"/>
                  <a:pt x="7458641" y="493026"/>
                  <a:pt x="7458641" y="493026"/>
                </a:cubicBezTo>
                <a:cubicBezTo>
                  <a:pt x="7455506" y="489955"/>
                  <a:pt x="7452371" y="486884"/>
                  <a:pt x="7446100" y="477671"/>
                </a:cubicBezTo>
                <a:cubicBezTo>
                  <a:pt x="7395935" y="379402"/>
                  <a:pt x="7395935" y="379402"/>
                  <a:pt x="7395935" y="379402"/>
                </a:cubicBezTo>
                <a:cubicBezTo>
                  <a:pt x="7455506" y="305701"/>
                  <a:pt x="7455506" y="305701"/>
                  <a:pt x="7455506" y="305701"/>
                </a:cubicBezTo>
                <a:cubicBezTo>
                  <a:pt x="7402205" y="305701"/>
                  <a:pt x="7402205" y="305701"/>
                  <a:pt x="7402205" y="305701"/>
                </a:cubicBezTo>
                <a:cubicBezTo>
                  <a:pt x="7350473" y="372493"/>
                  <a:pt x="7337539" y="389191"/>
                  <a:pt x="7334306" y="393365"/>
                </a:cubicBezTo>
                <a:lnTo>
                  <a:pt x="7333229" y="394755"/>
                </a:lnTo>
                <a:lnTo>
                  <a:pt x="7333229" y="366627"/>
                </a:lnTo>
                <a:cubicBezTo>
                  <a:pt x="7333229" y="274391"/>
                  <a:pt x="7333229" y="274391"/>
                  <a:pt x="7333229" y="274391"/>
                </a:cubicBezTo>
                <a:cubicBezTo>
                  <a:pt x="7333229" y="252835"/>
                  <a:pt x="7314633" y="237438"/>
                  <a:pt x="7289837" y="237438"/>
                </a:cubicBezTo>
                <a:cubicBezTo>
                  <a:pt x="7268141" y="237438"/>
                  <a:pt x="7268141" y="237438"/>
                  <a:pt x="7268141" y="237438"/>
                </a:cubicBezTo>
                <a:close/>
                <a:moveTo>
                  <a:pt x="8932543" y="0"/>
                </a:moveTo>
                <a:lnTo>
                  <a:pt x="9143999" y="0"/>
                </a:lnTo>
                <a:lnTo>
                  <a:pt x="9143999" y="5144400"/>
                </a:lnTo>
                <a:lnTo>
                  <a:pt x="9027314" y="5144400"/>
                </a:lnTo>
                <a:lnTo>
                  <a:pt x="9009627" y="5144400"/>
                </a:lnTo>
                <a:lnTo>
                  <a:pt x="8932543" y="5144400"/>
                </a:lnTo>
                <a:lnTo>
                  <a:pt x="8853155" y="5144400"/>
                </a:lnTo>
                <a:lnTo>
                  <a:pt x="0" y="5144400"/>
                </a:lnTo>
                <a:lnTo>
                  <a:pt x="0" y="902"/>
                </a:lnTo>
                <a:lnTo>
                  <a:pt x="8853155" y="902"/>
                </a:lnTo>
                <a:lnTo>
                  <a:pt x="8853155" y="900"/>
                </a:lnTo>
                <a:lnTo>
                  <a:pt x="8932543" y="9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oup 27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29" name="Rectangle 28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>
                <a:solidFill>
                  <a:schemeClr val="tx1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>
                  <a:solidFill>
                    <a:schemeClr val="tx1"/>
                  </a:solidFill>
                </a:rPr>
                <a:t>Click</a:t>
              </a:r>
              <a:r>
                <a:rPr lang="en-US" sz="900" b="0" baseline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>
                  <a:solidFill>
                    <a:schemeClr val="tx1"/>
                  </a:solidFill>
                </a:rPr>
              </a:br>
              <a:r>
                <a:rPr lang="en-US" sz="900" b="0" baseline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>
                <a:solidFill>
                  <a:schemeClr val="tx1"/>
                </a:solidFill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38" name="Rectangle 37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err="1"/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40" name="Straight Arrow Connector 39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>
              <a:stCxn id="31" idx="0"/>
              <a:endCxn id="31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>
              <a:stCxn id="31" idx="3"/>
              <a:endCxn id="31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Oval 63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err="1"/>
            </a:p>
          </p:txBody>
        </p:sp>
      </p:grpSp>
      <p:sp>
        <p:nvSpPr>
          <p:cNvPr id="43" name="Text Placeholder 3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2424" y="2353816"/>
            <a:ext cx="1629285" cy="1629285"/>
          </a:xfrm>
          <a:prstGeom prst="snip2DiagRect">
            <a:avLst>
              <a:gd name="adj1" fmla="val 15395"/>
              <a:gd name="adj2" fmla="val 0"/>
            </a:avLst>
          </a:prstGeom>
          <a:solidFill>
            <a:schemeClr val="accent1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400" baseline="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tem 1</a:t>
            </a:r>
          </a:p>
          <a:p>
            <a:pPr lvl="1"/>
            <a:r>
              <a:rPr lang="en-US"/>
              <a:t>Lorem ipsum</a:t>
            </a:r>
          </a:p>
          <a:p>
            <a:pPr lvl="2"/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44" name="Text Placeholder 3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623593" y="2353816"/>
            <a:ext cx="1629285" cy="1629285"/>
          </a:xfrm>
          <a:prstGeom prst="snip2DiagRect">
            <a:avLst>
              <a:gd name="adj1" fmla="val 15589"/>
              <a:gd name="adj2" fmla="val 0"/>
            </a:avLst>
          </a:prstGeom>
          <a:solidFill>
            <a:schemeClr val="accent2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tem 2</a:t>
            </a:r>
          </a:p>
          <a:p>
            <a:pPr lvl="1"/>
            <a:r>
              <a:rPr lang="en-US"/>
              <a:t>Lorem ipsum</a:t>
            </a:r>
          </a:p>
          <a:p>
            <a:pPr lvl="2"/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5" name="Text Placeholder 3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894762" y="2353816"/>
            <a:ext cx="1629285" cy="1629285"/>
          </a:xfrm>
          <a:prstGeom prst="snip2DiagRect">
            <a:avLst>
              <a:gd name="adj1" fmla="val 15394"/>
              <a:gd name="adj2" fmla="val 0"/>
            </a:avLst>
          </a:prstGeom>
          <a:solidFill>
            <a:schemeClr val="accent3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tem 3</a:t>
            </a:r>
          </a:p>
          <a:p>
            <a:pPr lvl="1"/>
            <a:r>
              <a:rPr lang="en-US"/>
              <a:t>Lorem ipsum</a:t>
            </a:r>
          </a:p>
          <a:p>
            <a:pPr lvl="2"/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6" name="Text Placeholder 3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165932" y="2353816"/>
            <a:ext cx="1629285" cy="1629285"/>
          </a:xfrm>
          <a:prstGeom prst="snip2DiagRect">
            <a:avLst>
              <a:gd name="adj1" fmla="val 15395"/>
              <a:gd name="adj2" fmla="val 0"/>
            </a:avLst>
          </a:prstGeom>
          <a:solidFill>
            <a:schemeClr val="accent4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400" b="1" baseline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tem 4</a:t>
            </a:r>
          </a:p>
          <a:p>
            <a:pPr lvl="1"/>
            <a:r>
              <a:rPr lang="en-US"/>
              <a:t>Lorem ipsum</a:t>
            </a:r>
          </a:p>
          <a:p>
            <a:pPr lvl="2"/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352424" y="3443101"/>
            <a:ext cx="540000" cy="54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2623593" y="3443101"/>
            <a:ext cx="540000" cy="54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60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4894762" y="3443101"/>
            <a:ext cx="540000" cy="54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61" name="Picture Placeholder 13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7165932" y="3443101"/>
            <a:ext cx="540000" cy="54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63" name="Text Placeholder 62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0" y="-221258"/>
            <a:ext cx="36000" cy="36000"/>
          </a:xfrm>
          <a:custGeom>
            <a:avLst/>
            <a:gdLst>
              <a:gd name="connsiteX0" fmla="*/ 89445 w 360383"/>
              <a:gd name="connsiteY0" fmla="*/ 0 h 360000"/>
              <a:gd name="connsiteX1" fmla="*/ 360383 w 360383"/>
              <a:gd name="connsiteY1" fmla="*/ 0 h 360000"/>
              <a:gd name="connsiteX2" fmla="*/ 360383 w 360383"/>
              <a:gd name="connsiteY2" fmla="*/ 270162 h 360000"/>
              <a:gd name="connsiteX3" fmla="*/ 270938 w 360383"/>
              <a:gd name="connsiteY3" fmla="*/ 360000 h 360000"/>
              <a:gd name="connsiteX4" fmla="*/ 270938 w 360383"/>
              <a:gd name="connsiteY4" fmla="*/ 89189 h 360000"/>
              <a:gd name="connsiteX5" fmla="*/ 0 w 360383"/>
              <a:gd name="connsiteY5" fmla="*/ 89189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383" h="360000">
                <a:moveTo>
                  <a:pt x="89445" y="0"/>
                </a:moveTo>
                <a:lnTo>
                  <a:pt x="360383" y="0"/>
                </a:lnTo>
                <a:lnTo>
                  <a:pt x="360383" y="270162"/>
                </a:lnTo>
                <a:lnTo>
                  <a:pt x="270938" y="360000"/>
                </a:lnTo>
                <a:lnTo>
                  <a:pt x="270938" y="89189"/>
                </a:lnTo>
                <a:lnTo>
                  <a:pt x="0" y="8918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 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2424" y="252000"/>
            <a:ext cx="4428000" cy="895662"/>
          </a:xfrm>
          <a:solidFill>
            <a:schemeClr val="bg1">
              <a:alpha val="90000"/>
            </a:schemeClr>
          </a:solidFill>
        </p:spPr>
        <p:txBody>
          <a:bodyPr wrap="square" lIns="100800" tIns="126000" rIns="100800" bIns="12600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539489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bran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983BDD78-F9D1-4F73-87BD-5EEE303745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762"/>
            <a:ext cx="9144000" cy="5145024"/>
          </a:xfrm>
          <a:prstGeom prst="rect">
            <a:avLst/>
          </a:prstGeom>
        </p:spPr>
      </p:pic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80BEE87-4835-4B9C-867B-245D16C29308}"/>
              </a:ext>
            </a:extLst>
          </p:cNvPr>
          <p:cNvSpPr/>
          <p:nvPr userDrawn="1"/>
        </p:nvSpPr>
        <p:spPr>
          <a:xfrm>
            <a:off x="-1803401" y="-1816100"/>
            <a:ext cx="12750800" cy="8775700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F5FFC98-E819-458E-AD1E-039584C2A3C7}"/>
              </a:ext>
            </a:extLst>
          </p:cNvPr>
          <p:cNvGrpSpPr/>
          <p:nvPr userDrawn="1"/>
        </p:nvGrpSpPr>
        <p:grpSpPr>
          <a:xfrm>
            <a:off x="1236595" y="1554480"/>
            <a:ext cx="4925881" cy="2417913"/>
            <a:chOff x="1236595" y="1554480"/>
            <a:chExt cx="4925881" cy="2417913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1BD9814-0800-45B7-A273-C7E6F078BA9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434944" y="3362574"/>
              <a:ext cx="1727532" cy="609819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AE60973-F93F-4148-ACD2-54872AB3A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1251585" y="1554480"/>
              <a:ext cx="1642413" cy="100215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D208BEBB-6114-4343-901C-738E6B22F0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236595" y="3402712"/>
              <a:ext cx="2421005" cy="305352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9505FDA-B56F-40F5-93F3-77E7259487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3460583" y="1626433"/>
              <a:ext cx="2235839" cy="1107848"/>
            </a:xfrm>
            <a:prstGeom prst="rect">
              <a:avLst/>
            </a:prstGeom>
          </p:spPr>
        </p:pic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42374562-0082-45AC-B175-C00C8C0CF8F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013575" y="236191"/>
            <a:ext cx="1782000" cy="26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8179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7AB9725-E30C-447C-B503-B96C6C7DEDC8}"/>
              </a:ext>
            </a:extLst>
          </p:cNvPr>
          <p:cNvSpPr/>
          <p:nvPr userDrawn="1"/>
        </p:nvSpPr>
        <p:spPr>
          <a:xfrm>
            <a:off x="-1803401" y="-1816100"/>
            <a:ext cx="12750800" cy="8775700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  <p:grpSp>
        <p:nvGrpSpPr>
          <p:cNvPr id="27" name="Group 26"/>
          <p:cNvGrpSpPr/>
          <p:nvPr/>
        </p:nvGrpSpPr>
        <p:grpSpPr bwMode="gray">
          <a:xfrm>
            <a:off x="0" y="4682937"/>
            <a:ext cx="9144000" cy="460563"/>
            <a:chOff x="0" y="4682937"/>
            <a:chExt cx="9144000" cy="460563"/>
          </a:xfrm>
        </p:grpSpPr>
        <p:sp>
          <p:nvSpPr>
            <p:cNvPr id="28" name="Rectangle 27"/>
            <p:cNvSpPr/>
            <p:nvPr/>
          </p:nvSpPr>
          <p:spPr bwMode="gray">
            <a:xfrm>
              <a:off x="0" y="46915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0" y="4682937"/>
              <a:ext cx="9144000" cy="144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0" name="Pentagon 28"/>
          <p:cNvSpPr/>
          <p:nvPr/>
        </p:nvSpPr>
        <p:spPr bwMode="gray">
          <a:xfrm>
            <a:off x="-1" y="4683688"/>
            <a:ext cx="602409" cy="459812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0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90383" y="4769594"/>
            <a:ext cx="288000" cy="288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663763" y="4769594"/>
            <a:ext cx="2448000" cy="288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r>
              <a:rPr lang="en-US" noProof="0"/>
              <a:t>Business unit | Foo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5" name="Rectangle 14"/>
          <p:cNvSpPr/>
          <p:nvPr/>
        </p:nvSpPr>
        <p:spPr bwMode="gray">
          <a:xfrm>
            <a:off x="-1641221" y="4242033"/>
            <a:ext cx="1501140" cy="77210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6000" bIns="108000" rtlCol="0" anchor="t" anchorCtr="0">
            <a:sp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Insert Topic Icons</a:t>
            </a: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Click on the picture icon and </a:t>
            </a:r>
            <a:r>
              <a:rPr lang="en-US" sz="900" b="0" i="0" baseline="0">
                <a:solidFill>
                  <a:schemeClr val="tx1"/>
                </a:solidFill>
              </a:rPr>
              <a:t>browse to the location of </a:t>
            </a:r>
            <a:r>
              <a:rPr lang="en-US" sz="900" b="0" baseline="0">
                <a:solidFill>
                  <a:schemeClr val="tx1"/>
                </a:solidFill>
              </a:rPr>
              <a:t>the Topic Icons</a:t>
            </a:r>
            <a:endParaRPr lang="en-US" sz="900" b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97F0165-08AF-4404-B9FD-41440F6123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25FEB14-E214-46B8-AAF4-66E35457D767}"/>
              </a:ext>
            </a:extLst>
          </p:cNvPr>
          <p:cNvGrpSpPr/>
          <p:nvPr userDrawn="1"/>
        </p:nvGrpSpPr>
        <p:grpSpPr>
          <a:xfrm>
            <a:off x="-1671638" y="254082"/>
            <a:ext cx="1531557" cy="630549"/>
            <a:chOff x="-1671638" y="254082"/>
            <a:chExt cx="1531557" cy="630549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E28855A-4571-482D-967E-D1942BCC416B}"/>
                </a:ext>
              </a:extLst>
            </p:cNvPr>
            <p:cNvCxnSpPr/>
            <p:nvPr/>
          </p:nvCxnSpPr>
          <p:spPr bwMode="gray">
            <a:xfrm>
              <a:off x="-1671638" y="884631"/>
              <a:ext cx="1531557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7EDDB3EC-DF75-4936-A4FF-FEE6D0EF6254}"/>
                </a:ext>
              </a:extLst>
            </p:cNvPr>
            <p:cNvCxnSpPr/>
            <p:nvPr/>
          </p:nvCxnSpPr>
          <p:spPr bwMode="gray">
            <a:xfrm>
              <a:off x="-1671638" y="254084"/>
              <a:ext cx="1531557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EF65836-C317-4D95-898B-D3A980135543}"/>
                </a:ext>
              </a:extLst>
            </p:cNvPr>
            <p:cNvSpPr/>
            <p:nvPr userDrawn="1"/>
          </p:nvSpPr>
          <p:spPr bwMode="gray">
            <a:xfrm>
              <a:off x="-1671638" y="254082"/>
              <a:ext cx="1531557" cy="630547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54000" rIns="108000" bIns="54000" rtlCol="0" anchor="b" anchorCtr="0">
              <a:noAutofit/>
            </a:bodyPr>
            <a:lstStyle/>
            <a:p>
              <a:pPr algn="l"/>
              <a:r>
                <a:rPr lang="en-US" sz="1000" b="0">
                  <a:solidFill>
                    <a:schemeClr val="tx1"/>
                  </a:solidFill>
                </a:rPr>
                <a:t>Title area</a:t>
              </a:r>
            </a:p>
            <a:p>
              <a:pPr algn="l"/>
              <a:r>
                <a:rPr lang="en-US" sz="1000" b="0">
                  <a:solidFill>
                    <a:schemeClr val="tx1"/>
                  </a:solidFill>
                </a:rPr>
                <a:t>max over 2 lines</a:t>
              </a:r>
            </a:p>
          </p:txBody>
        </p: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EAC6E919-D1AF-4829-85B8-6757F1D6C3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13575" y="236191"/>
            <a:ext cx="1782000" cy="26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0982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vie with AkzoNobel logo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D25E1AAA-C40A-4632-8FC4-062951A43D02}"/>
              </a:ext>
            </a:extLst>
          </p:cNvPr>
          <p:cNvSpPr/>
          <p:nvPr userDrawn="1"/>
        </p:nvSpPr>
        <p:spPr>
          <a:xfrm>
            <a:off x="-1803401" y="-1816100"/>
            <a:ext cx="12750800" cy="8775700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  <p:grpSp>
        <p:nvGrpSpPr>
          <p:cNvPr id="15" name="Group 33"/>
          <p:cNvGrpSpPr>
            <a:grpSpLocks noChangeAspect="1"/>
          </p:cNvGrpSpPr>
          <p:nvPr/>
        </p:nvGrpSpPr>
        <p:grpSpPr bwMode="gray">
          <a:xfrm>
            <a:off x="7012415" y="236463"/>
            <a:ext cx="1779160" cy="2592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6" name="Rectangle 15"/>
          <p:cNvSpPr/>
          <p:nvPr/>
        </p:nvSpPr>
        <p:spPr bwMode="gray">
          <a:xfrm>
            <a:off x="9288780" y="182684"/>
            <a:ext cx="1501140" cy="132610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Supported format for the</a:t>
            </a:r>
            <a:r>
              <a:rPr lang="en-US" sz="900" b="1" baseline="0">
                <a:solidFill>
                  <a:schemeClr val="tx1"/>
                </a:solidFill>
              </a:rPr>
              <a:t> Windows platform</a:t>
            </a:r>
            <a:endParaRPr lang="en-US" sz="900" b="1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• WMV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>
                <a:solidFill>
                  <a:schemeClr val="tx1"/>
                </a:solidFill>
              </a:rPr>
              <a:t>• MPG</a:t>
            </a:r>
          </a:p>
          <a:p>
            <a:pPr algn="l"/>
            <a:endParaRPr lang="en-US" sz="900" b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MP4</a:t>
            </a:r>
            <a:r>
              <a:rPr lang="en-US" sz="900" b="0" baseline="0">
                <a:solidFill>
                  <a:schemeClr val="tx1"/>
                </a:solidFill>
              </a:rPr>
              <a:t> not (yet) fully supported without </a:t>
            </a:r>
          </a:p>
          <a:p>
            <a:pPr algn="l"/>
            <a:r>
              <a:rPr lang="en-US" sz="900" b="0" baseline="0">
                <a:solidFill>
                  <a:schemeClr val="tx1"/>
                </a:solidFill>
              </a:rPr>
              <a:t>QT Player</a:t>
            </a:r>
            <a:endParaRPr lang="en-US" sz="900" b="0">
              <a:solidFill>
                <a:schemeClr val="tx1"/>
              </a:solidFill>
            </a:endParaRPr>
          </a:p>
        </p:txBody>
      </p:sp>
      <p:sp>
        <p:nvSpPr>
          <p:cNvPr id="18" name="Media Placeholder 17">
            <a:extLst>
              <a:ext uri="{FF2B5EF4-FFF2-40B4-BE49-F238E27FC236}">
                <a16:creationId xmlns:a16="http://schemas.microsoft.com/office/drawing/2014/main" id="{B7B02E2F-78D5-4E30-B751-15176ACA16DE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1" y="-900"/>
            <a:ext cx="9143999" cy="5144400"/>
          </a:xfrm>
          <a:prstGeom prst="rect">
            <a:avLst/>
          </a:prstGeom>
          <a:solidFill>
            <a:schemeClr val="tx1"/>
          </a:solidFill>
        </p:spPr>
        <p:txBody>
          <a:bodyPr wrap="square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Movie </a:t>
            </a:r>
          </a:p>
          <a:p>
            <a:r>
              <a:rPr lang="en-US"/>
              <a:t>(in WMV format for Windows platform)</a:t>
            </a:r>
          </a:p>
          <a:p>
            <a:endParaRPr lang="nl-NL"/>
          </a:p>
          <a:p>
            <a:endParaRPr lang="nl-NL"/>
          </a:p>
          <a:p>
            <a:endParaRPr lang="nl-NL"/>
          </a:p>
          <a:p>
            <a:endParaRPr lang="en-US"/>
          </a:p>
          <a:p>
            <a:endParaRPr lang="en-US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0FD17422-CBAC-4C3D-8D82-972F7F972DC1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7013575" y="236191"/>
            <a:ext cx="1782000" cy="260528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1529546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vie with AkzoNobel logo blu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B7638C14-9F90-4D41-8679-C0126FB6177D}"/>
              </a:ext>
            </a:extLst>
          </p:cNvPr>
          <p:cNvGrpSpPr/>
          <p:nvPr userDrawn="1"/>
        </p:nvGrpSpPr>
        <p:grpSpPr>
          <a:xfrm>
            <a:off x="0" y="-900"/>
            <a:ext cx="9143999" cy="5144400"/>
            <a:chOff x="0" y="-900"/>
            <a:chExt cx="9143999" cy="51444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4BB892A-DD27-4AF9-9505-BDAA1BD47A65}"/>
                </a:ext>
              </a:extLst>
            </p:cNvPr>
            <p:cNvSpPr/>
            <p:nvPr userDrawn="1"/>
          </p:nvSpPr>
          <p:spPr>
            <a:xfrm>
              <a:off x="7013813" y="-900"/>
              <a:ext cx="1782000" cy="5144400"/>
            </a:xfrm>
            <a:prstGeom prst="rect">
              <a:avLst/>
            </a:prstGeom>
            <a:gradFill flip="none" rotWithShape="1">
              <a:gsLst>
                <a:gs pos="0">
                  <a:srgbClr val="005192"/>
                </a:gs>
                <a:gs pos="100000">
                  <a:srgbClr val="008BC5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err="1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A4506E1-8F44-471B-9A1A-DDABA454F049}"/>
                </a:ext>
              </a:extLst>
            </p:cNvPr>
            <p:cNvSpPr/>
            <p:nvPr userDrawn="1"/>
          </p:nvSpPr>
          <p:spPr>
            <a:xfrm>
              <a:off x="0" y="-900"/>
              <a:ext cx="7013813" cy="5144400"/>
            </a:xfrm>
            <a:prstGeom prst="rect">
              <a:avLst/>
            </a:prstGeom>
            <a:solidFill>
              <a:srgbClr val="005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err="1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24C5D3A-5249-4802-82FC-B88E0C727FCB}"/>
                </a:ext>
              </a:extLst>
            </p:cNvPr>
            <p:cNvSpPr/>
            <p:nvPr userDrawn="1"/>
          </p:nvSpPr>
          <p:spPr>
            <a:xfrm>
              <a:off x="8795812" y="-900"/>
              <a:ext cx="348187" cy="5144400"/>
            </a:xfrm>
            <a:prstGeom prst="rect">
              <a:avLst/>
            </a:prstGeom>
            <a:solidFill>
              <a:srgbClr val="008B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err="1"/>
            </a:p>
          </p:txBody>
        </p:sp>
      </p:grp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C80CFD0-7C46-4237-B059-79BE7CA1024E}"/>
              </a:ext>
            </a:extLst>
          </p:cNvPr>
          <p:cNvSpPr/>
          <p:nvPr userDrawn="1"/>
        </p:nvSpPr>
        <p:spPr>
          <a:xfrm>
            <a:off x="-1803401" y="-1816100"/>
            <a:ext cx="12750800" cy="8775700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9625CAEF-7F4C-46C1-8A48-672F893B665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1" y="-450"/>
            <a:ext cx="9143999" cy="5144400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Movie </a:t>
            </a:r>
          </a:p>
          <a:p>
            <a:r>
              <a:rPr lang="en-US"/>
              <a:t>(in WMV format for Windows platform)</a:t>
            </a:r>
          </a:p>
          <a:p>
            <a:endParaRPr lang="nl-NL"/>
          </a:p>
          <a:p>
            <a:endParaRPr lang="nl-NL"/>
          </a:p>
          <a:p>
            <a:endParaRPr lang="nl-NL"/>
          </a:p>
          <a:p>
            <a:endParaRPr lang="en-US"/>
          </a:p>
          <a:p>
            <a:endParaRPr lang="en-US"/>
          </a:p>
        </p:txBody>
      </p:sp>
      <p:sp>
        <p:nvSpPr>
          <p:cNvPr id="26" name="Rectangle 25"/>
          <p:cNvSpPr/>
          <p:nvPr/>
        </p:nvSpPr>
        <p:spPr bwMode="gray">
          <a:xfrm>
            <a:off x="9288780" y="182684"/>
            <a:ext cx="1501140" cy="132610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Supported format for the</a:t>
            </a:r>
            <a:r>
              <a:rPr lang="en-US" sz="900" b="1" baseline="0">
                <a:solidFill>
                  <a:schemeClr val="tx1"/>
                </a:solidFill>
              </a:rPr>
              <a:t> Windows platform</a:t>
            </a:r>
            <a:endParaRPr lang="en-US" sz="900" b="1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• WMV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>
                <a:solidFill>
                  <a:schemeClr val="tx1"/>
                </a:solidFill>
              </a:rPr>
              <a:t>• MPG</a:t>
            </a:r>
          </a:p>
          <a:p>
            <a:pPr algn="l"/>
            <a:endParaRPr lang="en-US" sz="900" b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MP4</a:t>
            </a:r>
            <a:r>
              <a:rPr lang="en-US" sz="900" b="0" baseline="0">
                <a:solidFill>
                  <a:schemeClr val="tx1"/>
                </a:solidFill>
              </a:rPr>
              <a:t> not (yet) fully supported without </a:t>
            </a:r>
          </a:p>
          <a:p>
            <a:pPr algn="l"/>
            <a:r>
              <a:rPr lang="en-US" sz="900" b="0" baseline="0">
                <a:solidFill>
                  <a:schemeClr val="tx1"/>
                </a:solidFill>
              </a:rPr>
              <a:t>QT Player</a:t>
            </a:r>
            <a:endParaRPr lang="en-US" sz="900" b="0">
              <a:solidFill>
                <a:schemeClr val="tx1"/>
              </a:solidFill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02A36365-C340-4B2C-A3E0-87591690B3EB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7013575" y="236191"/>
            <a:ext cx="1782000" cy="260528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17800948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 without AkzoNobel logo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B9B5C15B-E66A-4657-B051-A6E5C2D1B577}"/>
              </a:ext>
            </a:extLst>
          </p:cNvPr>
          <p:cNvSpPr/>
          <p:nvPr userDrawn="1"/>
        </p:nvSpPr>
        <p:spPr>
          <a:xfrm>
            <a:off x="-1803401" y="-1816100"/>
            <a:ext cx="12750800" cy="8775700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0" y="0"/>
            <a:ext cx="9144000" cy="5143500"/>
          </a:xfrm>
          <a:noFill/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Movie </a:t>
            </a:r>
          </a:p>
          <a:p>
            <a:r>
              <a:rPr lang="en-US"/>
              <a:t>(in WMV format for Windows platform)</a:t>
            </a:r>
          </a:p>
          <a:p>
            <a:endParaRPr lang="nl-NL"/>
          </a:p>
          <a:p>
            <a:endParaRPr lang="nl-NL"/>
          </a:p>
          <a:p>
            <a:endParaRPr lang="nl-NL"/>
          </a:p>
          <a:p>
            <a:endParaRPr lang="en-US"/>
          </a:p>
          <a:p>
            <a:endParaRPr lang="en-US"/>
          </a:p>
        </p:txBody>
      </p:sp>
      <p:sp>
        <p:nvSpPr>
          <p:cNvPr id="38" name="Rectangle 37"/>
          <p:cNvSpPr/>
          <p:nvPr/>
        </p:nvSpPr>
        <p:spPr bwMode="gray">
          <a:xfrm>
            <a:off x="9288780" y="182684"/>
            <a:ext cx="1501140" cy="132610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Supported format for the</a:t>
            </a:r>
            <a:r>
              <a:rPr lang="en-US" sz="900" b="1" baseline="0">
                <a:solidFill>
                  <a:schemeClr val="tx1"/>
                </a:solidFill>
              </a:rPr>
              <a:t> Windows platform</a:t>
            </a:r>
            <a:endParaRPr lang="en-US" sz="900" b="1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• WMV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>
                <a:solidFill>
                  <a:schemeClr val="tx1"/>
                </a:solidFill>
              </a:rPr>
              <a:t>• MPG</a:t>
            </a:r>
          </a:p>
          <a:p>
            <a:pPr algn="l"/>
            <a:endParaRPr lang="en-US" sz="900" b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MP4</a:t>
            </a:r>
            <a:r>
              <a:rPr lang="en-US" sz="900" b="0" baseline="0">
                <a:solidFill>
                  <a:schemeClr val="tx1"/>
                </a:solidFill>
              </a:rPr>
              <a:t> not (yet) fully supported without </a:t>
            </a:r>
          </a:p>
          <a:p>
            <a:pPr algn="l"/>
            <a:r>
              <a:rPr lang="en-US" sz="900" b="0" baseline="0">
                <a:solidFill>
                  <a:schemeClr val="tx1"/>
                </a:solidFill>
              </a:rPr>
              <a:t>QT Player</a:t>
            </a:r>
            <a:endParaRPr lang="en-US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654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EEFF291B-2CFE-4064-9248-E0E2639B73A3}"/>
              </a:ext>
            </a:extLst>
          </p:cNvPr>
          <p:cNvSpPr/>
          <p:nvPr userDrawn="1"/>
        </p:nvSpPr>
        <p:spPr>
          <a:xfrm>
            <a:off x="-1803401" y="-1816100"/>
            <a:ext cx="12750800" cy="8775700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1543892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8BC5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B797376D-DE6D-4298-AB5F-64406A83EC77}"/>
              </a:ext>
            </a:extLst>
          </p:cNvPr>
          <p:cNvSpPr/>
          <p:nvPr userDrawn="1"/>
        </p:nvSpPr>
        <p:spPr>
          <a:xfrm>
            <a:off x="-1803401" y="-1816100"/>
            <a:ext cx="12750800" cy="8775700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9999" y="1753555"/>
            <a:ext cx="8431576" cy="2756533"/>
          </a:xfrm>
        </p:spPr>
        <p:txBody>
          <a:bodyPr anchor="t" anchorCtr="0"/>
          <a:lstStyle>
            <a:lvl1pPr>
              <a:lnSpc>
                <a:spcPct val="80000"/>
              </a:lnSpc>
              <a:defRPr sz="9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0020EA3-226E-4218-AA72-74DCF5FAD53B}"/>
              </a:ext>
            </a:extLst>
          </p:cNvPr>
          <p:cNvGrpSpPr/>
          <p:nvPr userDrawn="1"/>
        </p:nvGrpSpPr>
        <p:grpSpPr>
          <a:xfrm>
            <a:off x="5666400" y="1665898"/>
            <a:ext cx="3477600" cy="3477602"/>
            <a:chOff x="5666400" y="1665898"/>
            <a:chExt cx="3477600" cy="3477602"/>
          </a:xfrm>
        </p:grpSpPr>
        <p:sp>
          <p:nvSpPr>
            <p:cNvPr id="15" name="Right Triangle 14">
              <a:extLst>
                <a:ext uri="{FF2B5EF4-FFF2-40B4-BE49-F238E27FC236}">
                  <a16:creationId xmlns:a16="http://schemas.microsoft.com/office/drawing/2014/main" id="{7A0C16CC-2633-4079-93F6-648C429A161F}"/>
                </a:ext>
              </a:extLst>
            </p:cNvPr>
            <p:cNvSpPr>
              <a:spLocks noChangeAspect="1"/>
            </p:cNvSpPr>
            <p:nvPr userDrawn="1"/>
          </p:nvSpPr>
          <p:spPr>
            <a:xfrm rot="5400000" flipH="1" flipV="1">
              <a:off x="5666399" y="1665899"/>
              <a:ext cx="3477602" cy="3477600"/>
            </a:xfrm>
            <a:prstGeom prst="rtTriangl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err="1"/>
            </a:p>
          </p:txBody>
        </p:sp>
        <p:sp>
          <p:nvSpPr>
            <p:cNvPr id="17" name="Right Triangle 16">
              <a:extLst>
                <a:ext uri="{FF2B5EF4-FFF2-40B4-BE49-F238E27FC236}">
                  <a16:creationId xmlns:a16="http://schemas.microsoft.com/office/drawing/2014/main" id="{C57195F0-8ED9-4A66-8585-BC1AD55DAB6D}"/>
                </a:ext>
              </a:extLst>
            </p:cNvPr>
            <p:cNvSpPr>
              <a:spLocks noChangeAspect="1"/>
            </p:cNvSpPr>
            <p:nvPr userDrawn="1"/>
          </p:nvSpPr>
          <p:spPr>
            <a:xfrm rot="5400000" flipH="1" flipV="1">
              <a:off x="6825599" y="2825099"/>
              <a:ext cx="2318401" cy="2318400"/>
            </a:xfrm>
            <a:prstGeom prst="rtTriangle">
              <a:avLst/>
            </a:prstGeom>
            <a:solidFill>
              <a:schemeClr val="bg1">
                <a:alpha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err="1"/>
            </a:p>
          </p:txBody>
        </p:sp>
        <p:sp>
          <p:nvSpPr>
            <p:cNvPr id="16" name="Right Triangle 15">
              <a:extLst>
                <a:ext uri="{FF2B5EF4-FFF2-40B4-BE49-F238E27FC236}">
                  <a16:creationId xmlns:a16="http://schemas.microsoft.com/office/drawing/2014/main" id="{2F35587B-8EAA-4475-A7BA-44D09903E705}"/>
                </a:ext>
              </a:extLst>
            </p:cNvPr>
            <p:cNvSpPr>
              <a:spLocks noChangeAspect="1"/>
            </p:cNvSpPr>
            <p:nvPr userDrawn="1"/>
          </p:nvSpPr>
          <p:spPr>
            <a:xfrm rot="5400000" flipH="1" flipV="1">
              <a:off x="7984799" y="3984299"/>
              <a:ext cx="1159201" cy="11592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err="1"/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982924C7-A34E-4CD0-A6AF-E5FFB5BE04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13575" y="236191"/>
            <a:ext cx="1782000" cy="26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1280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speaker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92BB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50733CC7-C8BC-48A6-914D-2279C3CA9242}"/>
              </a:ext>
            </a:extLst>
          </p:cNvPr>
          <p:cNvSpPr/>
          <p:nvPr userDrawn="1"/>
        </p:nvSpPr>
        <p:spPr>
          <a:xfrm>
            <a:off x="-1803401" y="-1816100"/>
            <a:ext cx="12750800" cy="8775700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  <p:sp>
        <p:nvSpPr>
          <p:cNvPr id="45" name="Rechthoek 1"/>
          <p:cNvSpPr/>
          <p:nvPr/>
        </p:nvSpPr>
        <p:spPr bwMode="gray">
          <a:xfrm>
            <a:off x="352425" y="1563688"/>
            <a:ext cx="8439150" cy="1769447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nl-NL" err="1">
              <a:solidFill>
                <a:srgbClr val="FFFFFF"/>
              </a:solidFill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6476283" y="1563688"/>
            <a:ext cx="2315292" cy="1769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  <p:pic>
        <p:nvPicPr>
          <p:cNvPr id="43" name="Picture 42" descr="Portret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996160" y="2057596"/>
            <a:ext cx="1275539" cy="1275539"/>
          </a:xfrm>
          <a:prstGeom prst="rect">
            <a:avLst/>
          </a:prstGeom>
        </p:spPr>
      </p:pic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7" imgH="357" progId="TCLayout.ActiveDocument.1">
                  <p:embed/>
                </p:oleObj>
              </mc:Choice>
              <mc:Fallback>
                <p:oleObj name="think-cell Slide" r:id="rId4" imgW="357" imgH="357" progId="TCLayout.ActiveDocument.1">
                  <p:embed/>
                  <p:pic>
                    <p:nvPicPr>
                      <p:cNvPr id="37" name="Object 3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Title 52"/>
          <p:cNvSpPr>
            <a:spLocks noGrp="1"/>
          </p:cNvSpPr>
          <p:nvPr>
            <p:ph type="title" hasCustomPrompt="1"/>
          </p:nvPr>
        </p:nvSpPr>
        <p:spPr bwMode="gray">
          <a:xfrm>
            <a:off x="352425" y="1563688"/>
            <a:ext cx="6123858" cy="1769447"/>
          </a:xfrm>
        </p:spPr>
        <p:txBody>
          <a:bodyPr lIns="298800" tIns="118800" rIns="118800" bIns="93600" anchor="t" anchorCtr="0">
            <a:noAutofit/>
          </a:bodyPr>
          <a:lstStyle>
            <a:lvl1pPr>
              <a:lnSpc>
                <a:spcPct val="90000"/>
              </a:lnSpc>
              <a:defRPr sz="4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476283" y="1563688"/>
            <a:ext cx="2315292" cy="1769447"/>
          </a:xfrm>
        </p:spPr>
        <p:txBody>
          <a:bodyPr lIns="0" tIns="216000" rIns="0"/>
          <a:lstStyle>
            <a:lvl1pPr algn="ctr">
              <a:defRPr sz="12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Business unit | Foot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2FA5598-6268-4E02-9320-E25D1831B25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013575" y="236191"/>
            <a:ext cx="1782000" cy="26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5086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 speakers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92BB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B2CA1A4F-93FF-4441-BD9E-198187015F29}"/>
              </a:ext>
            </a:extLst>
          </p:cNvPr>
          <p:cNvSpPr/>
          <p:nvPr userDrawn="1"/>
        </p:nvSpPr>
        <p:spPr>
          <a:xfrm>
            <a:off x="-1803401" y="-1816100"/>
            <a:ext cx="12750800" cy="8775700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37" name="Object 3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Picture Placeholder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745441" y="885825"/>
            <a:ext cx="1188000" cy="1368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2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52425" y="2292792"/>
            <a:ext cx="1974032" cy="432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defRPr sz="14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77" name="Picture Placeholder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2898364" y="885825"/>
            <a:ext cx="1188000" cy="1368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2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78" name="Text Placeholder 5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505348" y="2292792"/>
            <a:ext cx="1974032" cy="432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defRPr sz="14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79" name="Picture Placeholder 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5051287" y="885825"/>
            <a:ext cx="1188000" cy="1368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2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80" name="Text Placeholder 5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658271" y="2292792"/>
            <a:ext cx="1974032" cy="432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defRPr sz="14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81" name="Picture Placeholder 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7204209" y="885825"/>
            <a:ext cx="1188000" cy="1368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2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82" name="Text Placeholder 5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811193" y="2292792"/>
            <a:ext cx="1974032" cy="432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defRPr sz="14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0" name="Picture Placeholder 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745441" y="2781428"/>
            <a:ext cx="1188000" cy="1368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2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1" name="Text Placeholder 5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52425" y="4188395"/>
            <a:ext cx="1974032" cy="432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defRPr sz="14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2" name="Picture Placeholder 3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2898364" y="2781428"/>
            <a:ext cx="1188000" cy="1368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2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3" name="Text Placeholder 5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505348" y="4188394"/>
            <a:ext cx="1974032" cy="432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4" name="Picture Placeholder 3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5051287" y="2781428"/>
            <a:ext cx="1188000" cy="1368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2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5" name="Text Placeholder 5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658271" y="4188395"/>
            <a:ext cx="1974032" cy="432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defRPr sz="14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6" name="Picture Placeholder 3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7204209" y="2781428"/>
            <a:ext cx="1188000" cy="1368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2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7" name="Text Placeholder 5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811193" y="4188395"/>
            <a:ext cx="1974032" cy="432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defRPr sz="14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33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Business unit | Footer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34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63ADF2C3-00B0-4FBD-9139-05547B8F79C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013575" y="236191"/>
            <a:ext cx="1782000" cy="26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9725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lide Option 1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92BB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D1D8099E-7306-4550-AE5C-175997108AC2}"/>
              </a:ext>
            </a:extLst>
          </p:cNvPr>
          <p:cNvSpPr/>
          <p:nvPr userDrawn="1"/>
        </p:nvSpPr>
        <p:spPr>
          <a:xfrm>
            <a:off x="-1803401" y="-1816100"/>
            <a:ext cx="12750800" cy="8775700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  <p:sp>
        <p:nvSpPr>
          <p:cNvPr id="83" name="Text Placeholder 82"/>
          <p:cNvSpPr>
            <a:spLocks noGrp="1"/>
          </p:cNvSpPr>
          <p:nvPr>
            <p:ph type="body" sz="quarter" idx="25"/>
          </p:nvPr>
        </p:nvSpPr>
        <p:spPr bwMode="gray">
          <a:xfrm>
            <a:off x="358776" y="3896360"/>
            <a:ext cx="8432799" cy="619609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4" name="Text Placeholder 9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52426" y="3896360"/>
            <a:ext cx="1786870" cy="619609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80" name="Text Placeholder 79"/>
          <p:cNvSpPr>
            <a:spLocks noGrp="1"/>
          </p:cNvSpPr>
          <p:nvPr>
            <p:ph type="body" sz="quarter" idx="23"/>
          </p:nvPr>
        </p:nvSpPr>
        <p:spPr bwMode="gray">
          <a:xfrm>
            <a:off x="358776" y="3200133"/>
            <a:ext cx="8432799" cy="619609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3" name="Text Placeholder 92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52426" y="3200133"/>
            <a:ext cx="1786870" cy="619609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77" name="Text Placeholder 76"/>
          <p:cNvSpPr>
            <a:spLocks noGrp="1"/>
          </p:cNvSpPr>
          <p:nvPr>
            <p:ph type="body" sz="quarter" idx="21"/>
          </p:nvPr>
        </p:nvSpPr>
        <p:spPr bwMode="gray">
          <a:xfrm>
            <a:off x="358776" y="2503906"/>
            <a:ext cx="8432799" cy="619609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2" name="Text Placeholder 91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52426" y="2503906"/>
            <a:ext cx="1786870" cy="619609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74" name="Text Placeholder 73"/>
          <p:cNvSpPr>
            <a:spLocks noGrp="1"/>
          </p:cNvSpPr>
          <p:nvPr>
            <p:ph type="body" sz="quarter" idx="19"/>
          </p:nvPr>
        </p:nvSpPr>
        <p:spPr bwMode="gray">
          <a:xfrm>
            <a:off x="358776" y="1807679"/>
            <a:ext cx="8432799" cy="619609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1" name="Text Placeholder 90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52426" y="1807679"/>
            <a:ext cx="1786870" cy="619609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8"/>
          </p:nvPr>
        </p:nvSpPr>
        <p:spPr bwMode="gray">
          <a:xfrm>
            <a:off x="358776" y="1111452"/>
            <a:ext cx="8432799" cy="619609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Text Placeholder 88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352426" y="1111452"/>
            <a:ext cx="1786870" cy="619609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39" name="Picture Placeholder 3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5953" y="1207720"/>
            <a:ext cx="427072" cy="427072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76" name="Picture Placeholder 7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915953" y="1903947"/>
            <a:ext cx="427072" cy="427072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79" name="Picture Placeholder 78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915953" y="2600174"/>
            <a:ext cx="427072" cy="427072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82" name="Picture Placeholder 81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5953" y="3296401"/>
            <a:ext cx="427072" cy="427072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85" name="Picture Placeholder 8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15953" y="3992628"/>
            <a:ext cx="427072" cy="427072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Business unit |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77BD3CF-AC2B-4C76-817C-442399EEA19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013575" y="236191"/>
            <a:ext cx="1782000" cy="26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4993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Option 3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92BB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DB2116A9-0496-4E1A-A495-093BAF5935CB}"/>
              </a:ext>
            </a:extLst>
          </p:cNvPr>
          <p:cNvSpPr/>
          <p:nvPr userDrawn="1"/>
        </p:nvSpPr>
        <p:spPr>
          <a:xfrm>
            <a:off x="-1803401" y="-1816100"/>
            <a:ext cx="12750800" cy="8775700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8"/>
          </p:nvPr>
        </p:nvSpPr>
        <p:spPr bwMode="gray">
          <a:xfrm>
            <a:off x="358776" y="1111452"/>
            <a:ext cx="4142957" cy="619609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8" name="Text Placeholder 127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358777" y="1111452"/>
            <a:ext cx="981043" cy="619609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39" name="Picture Placeholder 3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30987" y="1207720"/>
            <a:ext cx="427072" cy="427072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Business unit |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86" name="Text Placeholder 73"/>
          <p:cNvSpPr>
            <a:spLocks noGrp="1"/>
          </p:cNvSpPr>
          <p:nvPr>
            <p:ph type="body" sz="quarter" idx="19"/>
          </p:nvPr>
        </p:nvSpPr>
        <p:spPr bwMode="gray">
          <a:xfrm>
            <a:off x="358776" y="1807679"/>
            <a:ext cx="4142957" cy="619609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7" name="Text Placeholder 186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58777" y="1807679"/>
            <a:ext cx="981043" cy="619609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188" name="Picture Placeholder 7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530987" y="1903947"/>
            <a:ext cx="427072" cy="427072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11" name="Text Placeholder 76"/>
          <p:cNvSpPr>
            <a:spLocks noGrp="1"/>
          </p:cNvSpPr>
          <p:nvPr>
            <p:ph type="body" sz="quarter" idx="21"/>
          </p:nvPr>
        </p:nvSpPr>
        <p:spPr bwMode="gray">
          <a:xfrm>
            <a:off x="358776" y="2503906"/>
            <a:ext cx="4142957" cy="619609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2" name="Text Placeholder 211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58777" y="2503906"/>
            <a:ext cx="981043" cy="619609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213" name="Picture Placeholder 78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530987" y="2600174"/>
            <a:ext cx="427072" cy="427072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33" name="Text Placeholder 79"/>
          <p:cNvSpPr>
            <a:spLocks noGrp="1"/>
          </p:cNvSpPr>
          <p:nvPr>
            <p:ph type="body" sz="quarter" idx="23"/>
          </p:nvPr>
        </p:nvSpPr>
        <p:spPr bwMode="gray">
          <a:xfrm>
            <a:off x="358776" y="3200133"/>
            <a:ext cx="4142957" cy="619609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3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58777" y="3200133"/>
            <a:ext cx="981043" cy="619609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235" name="Picture Placeholder 81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530987" y="3296401"/>
            <a:ext cx="427072" cy="427072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52" name="Text Placeholder 82"/>
          <p:cNvSpPr>
            <a:spLocks noGrp="1"/>
          </p:cNvSpPr>
          <p:nvPr>
            <p:ph type="body" sz="quarter" idx="25"/>
          </p:nvPr>
        </p:nvSpPr>
        <p:spPr bwMode="gray">
          <a:xfrm>
            <a:off x="358776" y="3896360"/>
            <a:ext cx="4142957" cy="619609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3" name="Text Placeholder 252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58777" y="3896360"/>
            <a:ext cx="981043" cy="619609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254" name="Picture Placeholder 8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530987" y="3992628"/>
            <a:ext cx="427072" cy="427072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48" name="Text Placeholder 40"/>
          <p:cNvSpPr>
            <a:spLocks noGrp="1"/>
          </p:cNvSpPr>
          <p:nvPr>
            <p:ph type="body" sz="quarter" idx="42"/>
          </p:nvPr>
        </p:nvSpPr>
        <p:spPr bwMode="gray">
          <a:xfrm>
            <a:off x="4648618" y="1111452"/>
            <a:ext cx="4142957" cy="619609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278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4649412" y="1111452"/>
            <a:ext cx="981043" cy="619609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50" name="Picture Placeholder 38"/>
          <p:cNvSpPr>
            <a:spLocks noGrp="1"/>
          </p:cNvSpPr>
          <p:nvPr>
            <p:ph type="pic" sz="quarter" idx="44" hasCustomPrompt="1"/>
          </p:nvPr>
        </p:nvSpPr>
        <p:spPr bwMode="gray">
          <a:xfrm>
            <a:off x="4821622" y="1207720"/>
            <a:ext cx="427072" cy="427072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1" name="Text Placeholder 73"/>
          <p:cNvSpPr>
            <a:spLocks noGrp="1"/>
          </p:cNvSpPr>
          <p:nvPr>
            <p:ph type="body" sz="quarter" idx="40"/>
          </p:nvPr>
        </p:nvSpPr>
        <p:spPr bwMode="gray">
          <a:xfrm>
            <a:off x="4648618" y="1807679"/>
            <a:ext cx="4142957" cy="619609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291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649412" y="1807679"/>
            <a:ext cx="981043" cy="619609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53" name="Picture Placeholder 75"/>
          <p:cNvSpPr>
            <a:spLocks noGrp="1"/>
          </p:cNvSpPr>
          <p:nvPr>
            <p:ph type="pic" sz="quarter" idx="45" hasCustomPrompt="1"/>
          </p:nvPr>
        </p:nvSpPr>
        <p:spPr bwMode="gray">
          <a:xfrm>
            <a:off x="4821622" y="1903947"/>
            <a:ext cx="427072" cy="427072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4" name="Text Placeholder 76"/>
          <p:cNvSpPr>
            <a:spLocks noGrp="1"/>
          </p:cNvSpPr>
          <p:nvPr>
            <p:ph type="body" sz="quarter" idx="38"/>
          </p:nvPr>
        </p:nvSpPr>
        <p:spPr bwMode="gray">
          <a:xfrm>
            <a:off x="4648618" y="2503906"/>
            <a:ext cx="4142957" cy="619609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301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649412" y="2503906"/>
            <a:ext cx="981043" cy="619609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56" name="Picture Placeholder 78"/>
          <p:cNvSpPr>
            <a:spLocks noGrp="1"/>
          </p:cNvSpPr>
          <p:nvPr>
            <p:ph type="pic" sz="quarter" idx="46" hasCustomPrompt="1"/>
          </p:nvPr>
        </p:nvSpPr>
        <p:spPr bwMode="gray">
          <a:xfrm>
            <a:off x="4821622" y="2600174"/>
            <a:ext cx="427072" cy="427072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7" name="Text Placeholder 79"/>
          <p:cNvSpPr>
            <a:spLocks noGrp="1"/>
          </p:cNvSpPr>
          <p:nvPr>
            <p:ph type="body" sz="quarter" idx="36"/>
          </p:nvPr>
        </p:nvSpPr>
        <p:spPr bwMode="gray">
          <a:xfrm>
            <a:off x="4648618" y="3200133"/>
            <a:ext cx="4142957" cy="619609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308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4649412" y="3200133"/>
            <a:ext cx="981043" cy="619609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60" name="Picture Placeholder 81"/>
          <p:cNvSpPr>
            <a:spLocks noGrp="1"/>
          </p:cNvSpPr>
          <p:nvPr>
            <p:ph type="pic" sz="quarter" idx="47" hasCustomPrompt="1"/>
          </p:nvPr>
        </p:nvSpPr>
        <p:spPr bwMode="gray">
          <a:xfrm>
            <a:off x="4821622" y="3296401"/>
            <a:ext cx="427072" cy="427072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61" name="Text Placeholder 82"/>
          <p:cNvSpPr>
            <a:spLocks noGrp="1"/>
          </p:cNvSpPr>
          <p:nvPr>
            <p:ph type="body" sz="quarter" idx="34"/>
          </p:nvPr>
        </p:nvSpPr>
        <p:spPr bwMode="gray">
          <a:xfrm>
            <a:off x="4648618" y="3896360"/>
            <a:ext cx="4142957" cy="619609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Text Placeholder 312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649412" y="3896360"/>
            <a:ext cx="981043" cy="619609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63" name="Picture Placeholder 84"/>
          <p:cNvSpPr>
            <a:spLocks noGrp="1"/>
          </p:cNvSpPr>
          <p:nvPr>
            <p:ph type="pic" sz="quarter" idx="48" hasCustomPrompt="1"/>
          </p:nvPr>
        </p:nvSpPr>
        <p:spPr bwMode="gray">
          <a:xfrm>
            <a:off x="4821622" y="3992628"/>
            <a:ext cx="427072" cy="427072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7F914DF9-1E14-43E7-8FCC-51510C235AF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013575" y="236191"/>
            <a:ext cx="1782000" cy="26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2059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90383" y="4769594"/>
            <a:ext cx="288000" cy="288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663763" y="4769594"/>
            <a:ext cx="2448000" cy="288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Footer Placeholder 36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US" noProof="0"/>
              <a:t>Business unit | Footer</a:t>
            </a:r>
          </a:p>
        </p:txBody>
      </p:sp>
      <p:sp>
        <p:nvSpPr>
          <p:cNvPr id="38" name="Slide Number Placeholder 37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pPr>
              <a:defRPr/>
            </a:pPr>
            <a:fld id="{537E2E77-CED1-4E84-91C2-4E0176ECD4FC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gray">
          <a:xfrm>
            <a:off x="352426" y="974122"/>
            <a:ext cx="8438400" cy="35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6" y="4546964"/>
            <a:ext cx="8438400" cy="102592"/>
          </a:xfrm>
        </p:spPr>
        <p:txBody>
          <a:bodyPr anchor="b" anchorCtr="0">
            <a:spAutoFit/>
          </a:bodyPr>
          <a:lstStyle>
            <a:lvl1pPr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Source text styles Arial Regular 8p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3601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70" userDrawn="1">
          <p15:clr>
            <a:srgbClr val="FBAE40"/>
          </p15:clr>
        </p15:guide>
        <p15:guide id="2" pos="490" userDrawn="1">
          <p15:clr>
            <a:srgbClr val="FBAE40"/>
          </p15:clr>
        </p15:guide>
        <p15:guide id="3" orient="horz" pos="797" userDrawn="1">
          <p15:clr>
            <a:srgbClr val="FBAE40"/>
          </p15:clr>
        </p15:guide>
        <p15:guide id="4" orient="horz" pos="265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nl-NL"/>
              <a:t>Business unit | Footer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352425" y="974122"/>
            <a:ext cx="4140000" cy="35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4651575" y="974122"/>
            <a:ext cx="4140000" cy="35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90383" y="4769594"/>
            <a:ext cx="288000" cy="288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663763" y="4769594"/>
            <a:ext cx="2448000" cy="288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>
          <a:xfrm>
            <a:off x="352425" y="164631"/>
            <a:ext cx="6487573" cy="72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4546964"/>
            <a:ext cx="8438400" cy="102592"/>
          </a:xfrm>
        </p:spPr>
        <p:txBody>
          <a:bodyPr anchor="b" anchorCtr="0">
            <a:spAutoFit/>
          </a:bodyPr>
          <a:lstStyle>
            <a:lvl1pPr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8852946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nl-NL"/>
              <a:t>Business unit | Footer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352425" y="974122"/>
            <a:ext cx="2718000" cy="35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3213000" y="974122"/>
            <a:ext cx="2718000" cy="35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6"/>
          <p:cNvSpPr>
            <a:spLocks noGrp="1"/>
          </p:cNvSpPr>
          <p:nvPr>
            <p:ph sz="quarter" idx="20"/>
          </p:nvPr>
        </p:nvSpPr>
        <p:spPr bwMode="gray">
          <a:xfrm>
            <a:off x="6073575" y="974122"/>
            <a:ext cx="2718000" cy="35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64631"/>
            <a:ext cx="6487573" cy="72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90383" y="4769594"/>
            <a:ext cx="288000" cy="288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663763" y="4769594"/>
            <a:ext cx="2448000" cy="288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4546964"/>
            <a:ext cx="8438400" cy="102592"/>
          </a:xfrm>
        </p:spPr>
        <p:txBody>
          <a:bodyPr anchor="b" anchorCtr="0">
            <a:spAutoFit/>
          </a:bodyPr>
          <a:lstStyle>
            <a:lvl1pPr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4624879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410A2CB5-E3C0-458F-AECB-D45C116B99A0}"/>
              </a:ext>
            </a:extLst>
          </p:cNvPr>
          <p:cNvSpPr/>
          <p:nvPr userDrawn="1"/>
        </p:nvSpPr>
        <p:spPr>
          <a:xfrm>
            <a:off x="-1803401" y="-1816100"/>
            <a:ext cx="12750800" cy="8775700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err="1"/>
          </a:p>
        </p:txBody>
      </p:sp>
      <p:grpSp>
        <p:nvGrpSpPr>
          <p:cNvPr id="4" name="Group 3"/>
          <p:cNvGrpSpPr/>
          <p:nvPr/>
        </p:nvGrpSpPr>
        <p:grpSpPr bwMode="gray">
          <a:xfrm>
            <a:off x="0" y="4682937"/>
            <a:ext cx="9144000" cy="460563"/>
            <a:chOff x="0" y="4682937"/>
            <a:chExt cx="9144000" cy="460563"/>
          </a:xfrm>
        </p:grpSpPr>
        <p:sp>
          <p:nvSpPr>
            <p:cNvPr id="43" name="Rectangle 42"/>
            <p:cNvSpPr/>
            <p:nvPr/>
          </p:nvSpPr>
          <p:spPr bwMode="gray">
            <a:xfrm>
              <a:off x="0" y="46915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0" y="4682937"/>
              <a:ext cx="9144000" cy="144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29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57" imgH="357" progId="">
                  <p:embed/>
                </p:oleObj>
              </mc:Choice>
              <mc:Fallback>
                <p:oleObj name="think-cell Slide" r:id="rId30" imgW="357" imgH="357" progId="">
                  <p:embed/>
                  <p:pic>
                    <p:nvPicPr>
                      <p:cNvPr id="46" name="Object 4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2425" y="164631"/>
            <a:ext cx="6487573" cy="720000"/>
          </a:xfrm>
          <a:prstGeom prst="rect">
            <a:avLst/>
          </a:prstGeom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6" y="969360"/>
            <a:ext cx="8439150" cy="35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957693" y="4769594"/>
            <a:ext cx="2827532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lvl1pPr marL="0" algn="r" defTabSz="914400" rtl="0" eaLnBrk="1" latinLnBrk="0" hangingPunct="1">
              <a:defRPr lang="en-US" sz="1000" b="1" kern="1200" smtClean="0">
                <a:solidFill>
                  <a:srgbClr val="B7B9BA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Business unit | Footer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791575" y="4769594"/>
            <a:ext cx="252000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lvl1pPr marL="0" algn="r" defTabSz="914400" rtl="0" eaLnBrk="1" latinLnBrk="0" hangingPunct="1">
              <a:defRPr lang="nl-NL" sz="1000" b="1" kern="1200" smtClean="0">
                <a:solidFill>
                  <a:srgbClr val="B7B9B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3" name="Pentagon 28"/>
          <p:cNvSpPr/>
          <p:nvPr/>
        </p:nvSpPr>
        <p:spPr bwMode="gray">
          <a:xfrm>
            <a:off x="-1" y="4683688"/>
            <a:ext cx="602409" cy="459812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97174A0-3024-475A-843A-C236B8945484}"/>
              </a:ext>
            </a:extLst>
          </p:cNvPr>
          <p:cNvGrpSpPr/>
          <p:nvPr userDrawn="1"/>
        </p:nvGrpSpPr>
        <p:grpSpPr>
          <a:xfrm>
            <a:off x="-1671638" y="254082"/>
            <a:ext cx="1531557" cy="630549"/>
            <a:chOff x="-1671638" y="254082"/>
            <a:chExt cx="1531557" cy="630549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07AEDFE-6D6E-4DCD-95AE-9EB869F56D37}"/>
                </a:ext>
              </a:extLst>
            </p:cNvPr>
            <p:cNvCxnSpPr/>
            <p:nvPr/>
          </p:nvCxnSpPr>
          <p:spPr bwMode="gray">
            <a:xfrm>
              <a:off x="-1671638" y="884631"/>
              <a:ext cx="1531557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2ADE8EF-460B-4494-9B96-25366E12FE76}"/>
                </a:ext>
              </a:extLst>
            </p:cNvPr>
            <p:cNvCxnSpPr/>
            <p:nvPr/>
          </p:nvCxnSpPr>
          <p:spPr bwMode="gray">
            <a:xfrm>
              <a:off x="-1671638" y="254084"/>
              <a:ext cx="1531557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BFD9244C-2A41-4A05-BD74-DBD5EEDFD0F3}"/>
                </a:ext>
              </a:extLst>
            </p:cNvPr>
            <p:cNvSpPr/>
            <p:nvPr userDrawn="1"/>
          </p:nvSpPr>
          <p:spPr bwMode="gray">
            <a:xfrm>
              <a:off x="-1671638" y="254082"/>
              <a:ext cx="1531557" cy="630547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54000" rIns="108000" bIns="54000" rtlCol="0" anchor="b" anchorCtr="0">
              <a:noAutofit/>
            </a:bodyPr>
            <a:lstStyle/>
            <a:p>
              <a:pPr algn="l"/>
              <a:r>
                <a:rPr lang="en-US" sz="1000" b="0">
                  <a:solidFill>
                    <a:schemeClr val="tx1"/>
                  </a:solidFill>
                </a:rPr>
                <a:t>Title area</a:t>
              </a:r>
            </a:p>
            <a:p>
              <a:pPr algn="l"/>
              <a:r>
                <a:rPr lang="en-US" sz="1000" b="0">
                  <a:solidFill>
                    <a:schemeClr val="tx1"/>
                  </a:solidFill>
                </a:rPr>
                <a:t>max over 2 lines</a:t>
              </a:r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4C9011BA-2E5B-46D8-B55C-C1EB58D76A37}"/>
              </a:ext>
            </a:extLst>
          </p:cNvPr>
          <p:cNvSpPr/>
          <p:nvPr userDrawn="1"/>
        </p:nvSpPr>
        <p:spPr bwMode="gray">
          <a:xfrm>
            <a:off x="-1671638" y="4242033"/>
            <a:ext cx="1531557" cy="77210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36000" bIns="108000" rtlCol="0" anchor="t" anchorCtr="0">
            <a:sp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Insert Topic Icons</a:t>
            </a: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Click on the picture icon and </a:t>
            </a:r>
            <a:r>
              <a:rPr lang="en-US" sz="900" b="0" i="0" baseline="0">
                <a:solidFill>
                  <a:schemeClr val="tx1"/>
                </a:solidFill>
              </a:rPr>
              <a:t>browse to the location of </a:t>
            </a:r>
            <a:r>
              <a:rPr lang="en-US" sz="900" b="0" baseline="0">
                <a:solidFill>
                  <a:schemeClr val="tx1"/>
                </a:solidFill>
              </a:rPr>
              <a:t>the Topic Icons</a:t>
            </a:r>
            <a:endParaRPr lang="en-US" sz="900" b="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9959907-D325-4515-8460-37109EB0788B}"/>
              </a:ext>
            </a:extLst>
          </p:cNvPr>
          <p:cNvSpPr/>
          <p:nvPr userDrawn="1"/>
        </p:nvSpPr>
        <p:spPr bwMode="gray">
          <a:xfrm>
            <a:off x="-1671638" y="1405512"/>
            <a:ext cx="1531557" cy="180249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0" bIns="108000" rtlCol="0" anchor="b" anchorCtr="0">
            <a:no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AkzoNobel Bullets</a:t>
            </a: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Only use the </a:t>
            </a:r>
            <a:r>
              <a:rPr lang="en-US" sz="900" b="0" u="sng">
                <a:solidFill>
                  <a:schemeClr val="tx1"/>
                </a:solidFill>
              </a:rPr>
              <a:t>List Level buttons</a:t>
            </a:r>
            <a:r>
              <a:rPr lang="en-US" sz="900" b="0">
                <a:solidFill>
                  <a:schemeClr val="tx1"/>
                </a:solidFill>
              </a:rPr>
              <a:t> to apply the</a:t>
            </a:r>
            <a:r>
              <a:rPr lang="en-US" sz="900" b="0" baseline="0">
                <a:solidFill>
                  <a:schemeClr val="tx1"/>
                </a:solidFill>
              </a:rPr>
              <a:t> </a:t>
            </a:r>
            <a:r>
              <a:rPr lang="en-US" sz="900" b="0" i="0" u="none" baseline="0">
                <a:solidFill>
                  <a:schemeClr val="tx1"/>
                </a:solidFill>
              </a:rPr>
              <a:t>AkzoNobel Branded Bullets</a:t>
            </a:r>
            <a:endParaRPr lang="en-US" sz="900" b="0" i="0" u="none">
              <a:solidFill>
                <a:schemeClr val="tx1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E269951-6D51-4ED6-B96C-0B3772FB0F99}"/>
              </a:ext>
            </a:extLst>
          </p:cNvPr>
          <p:cNvGrpSpPr/>
          <p:nvPr userDrawn="1"/>
        </p:nvGrpSpPr>
        <p:grpSpPr>
          <a:xfrm>
            <a:off x="-1573454" y="1531453"/>
            <a:ext cx="1335187" cy="795026"/>
            <a:chOff x="-1573454" y="1531453"/>
            <a:chExt cx="1335187" cy="795026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DDC62B89-1326-4317-9C5B-89680681F6F6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rcRect l="18732" t="14956" r="50206" b="52163"/>
            <a:stretch>
              <a:fillRect/>
            </a:stretch>
          </p:blipFill>
          <p:spPr bwMode="gray">
            <a:xfrm>
              <a:off x="-1573454" y="1531453"/>
              <a:ext cx="1335187" cy="795026"/>
            </a:xfrm>
            <a:custGeom>
              <a:avLst/>
              <a:gdLst>
                <a:gd name="connsiteX0" fmla="*/ 0 w 2840306"/>
                <a:gd name="connsiteY0" fmla="*/ 0 h 1691236"/>
                <a:gd name="connsiteX1" fmla="*/ 2840306 w 2840306"/>
                <a:gd name="connsiteY1" fmla="*/ 0 h 1691236"/>
                <a:gd name="connsiteX2" fmla="*/ 2840306 w 2840306"/>
                <a:gd name="connsiteY2" fmla="*/ 1691236 h 1691236"/>
                <a:gd name="connsiteX3" fmla="*/ 0 w 2840306"/>
                <a:gd name="connsiteY3" fmla="*/ 1691236 h 169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0306" h="1691236">
                  <a:moveTo>
                    <a:pt x="0" y="0"/>
                  </a:moveTo>
                  <a:lnTo>
                    <a:pt x="2840306" y="0"/>
                  </a:lnTo>
                  <a:lnTo>
                    <a:pt x="2840306" y="1691236"/>
                  </a:lnTo>
                  <a:lnTo>
                    <a:pt x="0" y="1691236"/>
                  </a:lnTo>
                  <a:close/>
                </a:path>
              </a:pathLst>
            </a:custGeom>
          </p:spPr>
        </p:pic>
        <p:sp>
          <p:nvSpPr>
            <p:cNvPr id="36" name="Multiply 30">
              <a:extLst>
                <a:ext uri="{FF2B5EF4-FFF2-40B4-BE49-F238E27FC236}">
                  <a16:creationId xmlns:a16="http://schemas.microsoft.com/office/drawing/2014/main" id="{1E2C07B4-69F9-4521-AAF6-12CD6CA1844F}"/>
                </a:ext>
              </a:extLst>
            </p:cNvPr>
            <p:cNvSpPr/>
            <p:nvPr/>
          </p:nvSpPr>
          <p:spPr bwMode="gray">
            <a:xfrm>
              <a:off x="-1571627" y="1551174"/>
              <a:ext cx="245272" cy="245272"/>
            </a:xfrm>
            <a:prstGeom prst="mathMultiply">
              <a:avLst>
                <a:gd name="adj1" fmla="val 8315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err="1"/>
            </a:p>
          </p:txBody>
        </p:sp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id="{8A3058E3-E7BE-4686-B0CC-3FEDA91961B8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7013575" y="236191"/>
            <a:ext cx="1782000" cy="26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888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8" r:id="rId2"/>
    <p:sldLayoutId id="2147483776" r:id="rId3"/>
    <p:sldLayoutId id="2147483777" r:id="rId4"/>
    <p:sldLayoutId id="2147483778" r:id="rId5"/>
    <p:sldLayoutId id="2147483811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6" r:id="rId12"/>
    <p:sldLayoutId id="2147483816" r:id="rId13"/>
    <p:sldLayoutId id="2147483817" r:id="rId14"/>
    <p:sldLayoutId id="2147483791" r:id="rId15"/>
    <p:sldLayoutId id="2147483792" r:id="rId16"/>
    <p:sldLayoutId id="2147483794" r:id="rId17"/>
    <p:sldLayoutId id="2147483795" r:id="rId18"/>
    <p:sldLayoutId id="2147483814" r:id="rId19"/>
    <p:sldLayoutId id="2147483815" r:id="rId20"/>
    <p:sldLayoutId id="2147483819" r:id="rId21"/>
    <p:sldLayoutId id="2147483804" r:id="rId22"/>
    <p:sldLayoutId id="2147483820" r:id="rId23"/>
    <p:sldLayoutId id="2147483821" r:id="rId24"/>
    <p:sldLayoutId id="2147483807" r:id="rId25"/>
    <p:sldLayoutId id="2147483808" r:id="rId26"/>
    <p:sldLayoutId id="2147483810" r:id="rId27"/>
  </p:sldLayoutIdLst>
  <p:hf hdr="0" dt="0"/>
  <p:txStyles>
    <p:titleStyle>
      <a:lvl1pPr marL="0" algn="l" defTabSz="914400" rtl="0" eaLnBrk="1" latinLnBrk="0" hangingPunct="1">
        <a:lnSpc>
          <a:spcPts val="2500"/>
        </a:lnSpc>
        <a:spcBef>
          <a:spcPct val="0"/>
        </a:spcBef>
        <a:buNone/>
        <a:defRPr lang="en-GB" sz="2500" b="1" kern="0">
          <a:solidFill>
            <a:schemeClr val="accent1"/>
          </a:solidFill>
          <a:latin typeface="+mj-lt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lnSpc>
          <a:spcPct val="80000"/>
        </a:lnSpc>
        <a:spcBef>
          <a:spcPts val="600"/>
        </a:spcBef>
        <a:spcAft>
          <a:spcPts val="200"/>
        </a:spcAft>
        <a:buClr>
          <a:schemeClr val="accent1"/>
        </a:buClr>
        <a:buFont typeface="Arial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80000"/>
        </a:lnSpc>
        <a:spcBef>
          <a:spcPts val="600"/>
        </a:spcBef>
        <a:spcAft>
          <a:spcPts val="200"/>
        </a:spcAft>
        <a:buClr>
          <a:schemeClr val="accent1"/>
        </a:buClr>
        <a:buFontTx/>
        <a:buBlip>
          <a:blip r:embed="rId34"/>
        </a:buBlip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80000"/>
        </a:lnSpc>
        <a:spcBef>
          <a:spcPts val="200"/>
        </a:spcBef>
        <a:spcAft>
          <a:spcPts val="200"/>
        </a:spcAft>
        <a:buClr>
          <a:schemeClr val="accent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lnSpc>
          <a:spcPct val="80000"/>
        </a:lnSpc>
        <a:spcBef>
          <a:spcPts val="200"/>
        </a:spcBef>
        <a:spcAft>
          <a:spcPts val="200"/>
        </a:spcAft>
        <a:buClr>
          <a:schemeClr val="accent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80000"/>
        </a:lnSpc>
        <a:spcBef>
          <a:spcPts val="200"/>
        </a:spcBef>
        <a:spcAft>
          <a:spcPts val="200"/>
        </a:spcAft>
        <a:buClr>
          <a:schemeClr val="accent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544" userDrawn="1">
          <p15:clr>
            <a:srgbClr val="F26B43"/>
          </p15:clr>
        </p15:guide>
        <p15:guide id="2" pos="222" userDrawn="1">
          <p15:clr>
            <a:srgbClr val="F26B43"/>
          </p15:clr>
        </p15:guide>
        <p15:guide id="3" orient="horz" pos="102" userDrawn="1">
          <p15:clr>
            <a:srgbClr val="F26B43"/>
          </p15:clr>
        </p15:guide>
        <p15:guide id="4" orient="horz" pos="558" userDrawn="1">
          <p15:clr>
            <a:srgbClr val="F26B43"/>
          </p15:clr>
        </p15:guide>
        <p15:guide id="5" orient="horz" pos="606" userDrawn="1">
          <p15:clr>
            <a:srgbClr val="F26B43"/>
          </p15:clr>
        </p15:guide>
        <p15:guide id="6" orient="horz" pos="2838" userDrawn="1">
          <p15:clr>
            <a:srgbClr val="F26B43"/>
          </p15:clr>
        </p15:guide>
        <p15:guide id="7" orient="horz" pos="29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3.png"/><Relationship Id="rId5" Type="http://schemas.openxmlformats.org/officeDocument/2006/relationships/image" Target="../media/image20.png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3.png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13" Type="http://schemas.openxmlformats.org/officeDocument/2006/relationships/image" Target="../media/image45.jpe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5" Type="http://schemas.openxmlformats.org/officeDocument/2006/relationships/image" Target="../media/image47.png"/><Relationship Id="rId10" Type="http://schemas.openxmlformats.org/officeDocument/2006/relationships/image" Target="../media/image42.jpeg"/><Relationship Id="rId4" Type="http://schemas.openxmlformats.org/officeDocument/2006/relationships/image" Target="../media/image36.png"/><Relationship Id="rId9" Type="http://schemas.openxmlformats.org/officeDocument/2006/relationships/image" Target="../media/image41.jpeg"/><Relationship Id="rId14" Type="http://schemas.openxmlformats.org/officeDocument/2006/relationships/image" Target="../media/image46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13" Type="http://schemas.openxmlformats.org/officeDocument/2006/relationships/image" Target="../media/image47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8.png"/><Relationship Id="rId11" Type="http://schemas.openxmlformats.org/officeDocument/2006/relationships/image" Target="../media/image45.jpeg"/><Relationship Id="rId5" Type="http://schemas.openxmlformats.org/officeDocument/2006/relationships/image" Target="../media/image37.png"/><Relationship Id="rId10" Type="http://schemas.openxmlformats.org/officeDocument/2006/relationships/image" Target="../media/image42.jpeg"/><Relationship Id="rId4" Type="http://schemas.openxmlformats.org/officeDocument/2006/relationships/image" Target="../media/image36.png"/><Relationship Id="rId9" Type="http://schemas.openxmlformats.org/officeDocument/2006/relationships/image" Target="../media/image4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4.png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2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0.png"/><Relationship Id="rId5" Type="http://schemas.openxmlformats.org/officeDocument/2006/relationships/image" Target="../media/image25.png"/><Relationship Id="rId4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3.png"/><Relationship Id="rId4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3.png"/><Relationship Id="rId4" Type="http://schemas.openxmlformats.org/officeDocument/2006/relationships/image" Target="../media/image25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13" Type="http://schemas.openxmlformats.org/officeDocument/2006/relationships/image" Target="../media/image47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6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8.png"/><Relationship Id="rId11" Type="http://schemas.openxmlformats.org/officeDocument/2006/relationships/image" Target="../media/image45.jpeg"/><Relationship Id="rId5" Type="http://schemas.openxmlformats.org/officeDocument/2006/relationships/image" Target="../media/image37.png"/><Relationship Id="rId10" Type="http://schemas.openxmlformats.org/officeDocument/2006/relationships/image" Target="../media/image42.jpeg"/><Relationship Id="rId4" Type="http://schemas.openxmlformats.org/officeDocument/2006/relationships/image" Target="../media/image36.png"/><Relationship Id="rId9" Type="http://schemas.openxmlformats.org/officeDocument/2006/relationships/image" Target="../media/image41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13" Type="http://schemas.openxmlformats.org/officeDocument/2006/relationships/image" Target="../media/image47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6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8.png"/><Relationship Id="rId11" Type="http://schemas.openxmlformats.org/officeDocument/2006/relationships/image" Target="../media/image45.jpeg"/><Relationship Id="rId5" Type="http://schemas.openxmlformats.org/officeDocument/2006/relationships/image" Target="../media/image37.png"/><Relationship Id="rId10" Type="http://schemas.openxmlformats.org/officeDocument/2006/relationships/image" Target="../media/image42.jpeg"/><Relationship Id="rId4" Type="http://schemas.openxmlformats.org/officeDocument/2006/relationships/image" Target="../media/image36.png"/><Relationship Id="rId9" Type="http://schemas.openxmlformats.org/officeDocument/2006/relationships/image" Target="../media/image41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0.png"/><Relationship Id="rId4" Type="http://schemas.openxmlformats.org/officeDocument/2006/relationships/image" Target="../media/image2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1.jpeg"/><Relationship Id="rId5" Type="http://schemas.openxmlformats.org/officeDocument/2006/relationships/image" Target="../media/image60.jpeg"/><Relationship Id="rId4" Type="http://schemas.openxmlformats.org/officeDocument/2006/relationships/image" Target="../media/image2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0.png"/><Relationship Id="rId5" Type="http://schemas.openxmlformats.org/officeDocument/2006/relationships/image" Target="../media/image23.png"/><Relationship Id="rId4" Type="http://schemas.openxmlformats.org/officeDocument/2006/relationships/image" Target="../media/image2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3.png"/><Relationship Id="rId5" Type="http://schemas.openxmlformats.org/officeDocument/2006/relationships/image" Target="../media/image20.png"/><Relationship Id="rId4" Type="http://schemas.openxmlformats.org/officeDocument/2006/relationships/image" Target="../media/image2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0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3.png"/><Relationship Id="rId4" Type="http://schemas.openxmlformats.org/officeDocument/2006/relationships/image" Target="../media/image2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4.jpeg"/><Relationship Id="rId5" Type="http://schemas.openxmlformats.org/officeDocument/2006/relationships/image" Target="../media/image63.jpeg"/><Relationship Id="rId4" Type="http://schemas.openxmlformats.org/officeDocument/2006/relationships/image" Target="../media/image2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6.png"/><Relationship Id="rId4" Type="http://schemas.openxmlformats.org/officeDocument/2006/relationships/image" Target="../media/image23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image" Target="../media/image35.png"/><Relationship Id="rId7" Type="http://schemas.openxmlformats.org/officeDocument/2006/relationships/image" Target="../media/image40.jpeg"/><Relationship Id="rId12" Type="http://schemas.openxmlformats.org/officeDocument/2006/relationships/image" Target="../media/image47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8.png"/><Relationship Id="rId11" Type="http://schemas.openxmlformats.org/officeDocument/2006/relationships/image" Target="../media/image46.jpeg"/><Relationship Id="rId5" Type="http://schemas.openxmlformats.org/officeDocument/2006/relationships/image" Target="../media/image37.png"/><Relationship Id="rId10" Type="http://schemas.openxmlformats.org/officeDocument/2006/relationships/image" Target="../media/image45.jpeg"/><Relationship Id="rId4" Type="http://schemas.openxmlformats.org/officeDocument/2006/relationships/image" Target="../media/image36.png"/><Relationship Id="rId9" Type="http://schemas.openxmlformats.org/officeDocument/2006/relationships/image" Target="../media/image42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image" Target="../media/image35.png"/><Relationship Id="rId7" Type="http://schemas.openxmlformats.org/officeDocument/2006/relationships/image" Target="../media/image40.jpeg"/><Relationship Id="rId12" Type="http://schemas.openxmlformats.org/officeDocument/2006/relationships/image" Target="../media/image47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8.png"/><Relationship Id="rId11" Type="http://schemas.openxmlformats.org/officeDocument/2006/relationships/image" Target="../media/image46.jpeg"/><Relationship Id="rId5" Type="http://schemas.openxmlformats.org/officeDocument/2006/relationships/image" Target="../media/image37.png"/><Relationship Id="rId10" Type="http://schemas.openxmlformats.org/officeDocument/2006/relationships/image" Target="../media/image45.jpeg"/><Relationship Id="rId4" Type="http://schemas.openxmlformats.org/officeDocument/2006/relationships/image" Target="../media/image36.png"/><Relationship Id="rId9" Type="http://schemas.openxmlformats.org/officeDocument/2006/relationships/image" Target="../media/image42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0.png"/><Relationship Id="rId4" Type="http://schemas.openxmlformats.org/officeDocument/2006/relationships/image" Target="../media/image2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66.png"/><Relationship Id="rId4" Type="http://schemas.openxmlformats.org/officeDocument/2006/relationships/image" Target="../media/image2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0.png"/><Relationship Id="rId5" Type="http://schemas.openxmlformats.org/officeDocument/2006/relationships/image" Target="../media/image23.png"/><Relationship Id="rId4" Type="http://schemas.openxmlformats.org/officeDocument/2006/relationships/image" Target="../media/image2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3.png"/><Relationship Id="rId4" Type="http://schemas.openxmlformats.org/officeDocument/2006/relationships/image" Target="../media/image20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0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7.png"/><Relationship Id="rId4" Type="http://schemas.openxmlformats.org/officeDocument/2006/relationships/image" Target="../media/image23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53.png"/><Relationship Id="rId7" Type="http://schemas.openxmlformats.org/officeDocument/2006/relationships/image" Target="../media/image69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57.png"/><Relationship Id="rId5" Type="http://schemas.openxmlformats.org/officeDocument/2006/relationships/image" Target="../media/image68.png"/><Relationship Id="rId10" Type="http://schemas.openxmlformats.org/officeDocument/2006/relationships/image" Target="../media/image72.png"/><Relationship Id="rId4" Type="http://schemas.openxmlformats.org/officeDocument/2006/relationships/image" Target="../media/image27.png"/><Relationship Id="rId9" Type="http://schemas.openxmlformats.org/officeDocument/2006/relationships/image" Target="../media/image71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7.png"/><Relationship Id="rId4" Type="http://schemas.openxmlformats.org/officeDocument/2006/relationships/image" Target="../media/image23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image" Target="../media/image35.png"/><Relationship Id="rId7" Type="http://schemas.openxmlformats.org/officeDocument/2006/relationships/image" Target="../media/image40.jpeg"/><Relationship Id="rId12" Type="http://schemas.openxmlformats.org/officeDocument/2006/relationships/image" Target="../media/image39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8.png"/><Relationship Id="rId11" Type="http://schemas.openxmlformats.org/officeDocument/2006/relationships/image" Target="../media/image47.png"/><Relationship Id="rId5" Type="http://schemas.openxmlformats.org/officeDocument/2006/relationships/image" Target="../media/image37.png"/><Relationship Id="rId10" Type="http://schemas.openxmlformats.org/officeDocument/2006/relationships/image" Target="../media/image46.jpeg"/><Relationship Id="rId4" Type="http://schemas.openxmlformats.org/officeDocument/2006/relationships/image" Target="../media/image36.png"/><Relationship Id="rId9" Type="http://schemas.openxmlformats.org/officeDocument/2006/relationships/image" Target="../media/image45.jpe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image" Target="../media/image35.png"/><Relationship Id="rId7" Type="http://schemas.openxmlformats.org/officeDocument/2006/relationships/image" Target="../media/image40.jpeg"/><Relationship Id="rId12" Type="http://schemas.openxmlformats.org/officeDocument/2006/relationships/image" Target="../media/image39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8.png"/><Relationship Id="rId11" Type="http://schemas.openxmlformats.org/officeDocument/2006/relationships/image" Target="../media/image47.png"/><Relationship Id="rId5" Type="http://schemas.openxmlformats.org/officeDocument/2006/relationships/image" Target="../media/image37.png"/><Relationship Id="rId10" Type="http://schemas.openxmlformats.org/officeDocument/2006/relationships/image" Target="../media/image46.jpeg"/><Relationship Id="rId4" Type="http://schemas.openxmlformats.org/officeDocument/2006/relationships/image" Target="../media/image36.png"/><Relationship Id="rId9" Type="http://schemas.openxmlformats.org/officeDocument/2006/relationships/image" Target="../media/image45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0.png"/><Relationship Id="rId4" Type="http://schemas.openxmlformats.org/officeDocument/2006/relationships/image" Target="../media/image27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8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0.png"/><Relationship Id="rId5" Type="http://schemas.openxmlformats.org/officeDocument/2006/relationships/image" Target="../media/image23.png"/><Relationship Id="rId4" Type="http://schemas.openxmlformats.org/officeDocument/2006/relationships/image" Target="../media/image28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0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0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3.png"/><Relationship Id="rId4" Type="http://schemas.openxmlformats.org/officeDocument/2006/relationships/image" Target="../media/image28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8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8.png"/><Relationship Id="rId4" Type="http://schemas.openxmlformats.org/officeDocument/2006/relationships/image" Target="../media/image23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image" Target="../media/image35.png"/><Relationship Id="rId7" Type="http://schemas.openxmlformats.org/officeDocument/2006/relationships/image" Target="../media/image41.jpe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8.png"/><Relationship Id="rId11" Type="http://schemas.openxmlformats.org/officeDocument/2006/relationships/image" Target="../media/image39.png"/><Relationship Id="rId5" Type="http://schemas.openxmlformats.org/officeDocument/2006/relationships/image" Target="../media/image37.png"/><Relationship Id="rId10" Type="http://schemas.openxmlformats.org/officeDocument/2006/relationships/image" Target="../media/image47.png"/><Relationship Id="rId4" Type="http://schemas.openxmlformats.org/officeDocument/2006/relationships/image" Target="../media/image36.png"/><Relationship Id="rId9" Type="http://schemas.openxmlformats.org/officeDocument/2006/relationships/image" Target="../media/image46.jpe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image" Target="../media/image35.png"/><Relationship Id="rId7" Type="http://schemas.openxmlformats.org/officeDocument/2006/relationships/image" Target="../media/image41.jpe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8.png"/><Relationship Id="rId11" Type="http://schemas.openxmlformats.org/officeDocument/2006/relationships/image" Target="../media/image39.png"/><Relationship Id="rId5" Type="http://schemas.openxmlformats.org/officeDocument/2006/relationships/image" Target="../media/image37.png"/><Relationship Id="rId10" Type="http://schemas.openxmlformats.org/officeDocument/2006/relationships/image" Target="../media/image47.png"/><Relationship Id="rId4" Type="http://schemas.openxmlformats.org/officeDocument/2006/relationships/image" Target="../media/image36.png"/><Relationship Id="rId9" Type="http://schemas.openxmlformats.org/officeDocument/2006/relationships/image" Target="../media/image46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0.png"/><Relationship Id="rId4" Type="http://schemas.openxmlformats.org/officeDocument/2006/relationships/image" Target="../media/image28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9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3.png"/><Relationship Id="rId5" Type="http://schemas.openxmlformats.org/officeDocument/2006/relationships/image" Target="../media/image20.png"/><Relationship Id="rId4" Type="http://schemas.openxmlformats.org/officeDocument/2006/relationships/image" Target="../media/image23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0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0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3.png"/><Relationship Id="rId4" Type="http://schemas.openxmlformats.org/officeDocument/2006/relationships/image" Target="../media/image29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9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9.png"/><Relationship Id="rId4" Type="http://schemas.openxmlformats.org/officeDocument/2006/relationships/image" Target="../media/image23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image" Target="../media/image35.png"/><Relationship Id="rId7" Type="http://schemas.openxmlformats.org/officeDocument/2006/relationships/image" Target="../media/image41.jpe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8.png"/><Relationship Id="rId11" Type="http://schemas.openxmlformats.org/officeDocument/2006/relationships/image" Target="../media/image39.png"/><Relationship Id="rId5" Type="http://schemas.openxmlformats.org/officeDocument/2006/relationships/image" Target="../media/image37.png"/><Relationship Id="rId10" Type="http://schemas.openxmlformats.org/officeDocument/2006/relationships/image" Target="../media/image47.png"/><Relationship Id="rId4" Type="http://schemas.openxmlformats.org/officeDocument/2006/relationships/image" Target="../media/image36.png"/><Relationship Id="rId9" Type="http://schemas.openxmlformats.org/officeDocument/2006/relationships/image" Target="../media/image46.jpeg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image" Target="../media/image35.png"/><Relationship Id="rId7" Type="http://schemas.openxmlformats.org/officeDocument/2006/relationships/image" Target="../media/image41.jpe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8.png"/><Relationship Id="rId11" Type="http://schemas.openxmlformats.org/officeDocument/2006/relationships/image" Target="../media/image39.png"/><Relationship Id="rId5" Type="http://schemas.openxmlformats.org/officeDocument/2006/relationships/image" Target="../media/image37.png"/><Relationship Id="rId10" Type="http://schemas.openxmlformats.org/officeDocument/2006/relationships/image" Target="../media/image47.png"/><Relationship Id="rId4" Type="http://schemas.openxmlformats.org/officeDocument/2006/relationships/image" Target="../media/image36.png"/><Relationship Id="rId9" Type="http://schemas.openxmlformats.org/officeDocument/2006/relationships/image" Target="../media/image46.jpe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9.png"/><Relationship Id="rId4" Type="http://schemas.openxmlformats.org/officeDocument/2006/relationships/image" Target="../media/image20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0.png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2.jpeg"/><Relationship Id="rId5" Type="http://schemas.openxmlformats.org/officeDocument/2006/relationships/image" Target="../media/image31.pn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28F520-C8DD-8D6A-B547-43BE4E771F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91443" y="2002397"/>
            <a:ext cx="6800132" cy="2545791"/>
          </a:xfrm>
        </p:spPr>
        <p:txBody>
          <a:bodyPr/>
          <a:lstStyle/>
          <a:p>
            <a:r>
              <a:rPr lang="en-SG"/>
              <a:t>DULUX PAINTS- Pakista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D048FE0-9050-02C7-4009-1AE5011BA9F6}"/>
              </a:ext>
            </a:extLst>
          </p:cNvPr>
          <p:cNvSpPr txBox="1"/>
          <p:nvPr/>
        </p:nvSpPr>
        <p:spPr>
          <a:xfrm>
            <a:off x="2156603" y="2746925"/>
            <a:ext cx="5986733" cy="10955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000" b="0" i="1"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Where Your Imagination Meets Infinite Possibilities! </a:t>
            </a:r>
            <a:endParaRPr lang="en-GB" sz="2000" b="0" i="1">
              <a:solidFill>
                <a:schemeClr val="bg1"/>
              </a:solidFill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A21AF05-F8AB-2CB4-AF9C-AA4A33B68333}"/>
              </a:ext>
            </a:extLst>
          </p:cNvPr>
          <p:cNvSpPr/>
          <p:nvPr/>
        </p:nvSpPr>
        <p:spPr>
          <a:xfrm>
            <a:off x="3726611" y="3559474"/>
            <a:ext cx="1787824" cy="55856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Start</a:t>
            </a:r>
            <a:endParaRPr lang="en-US" err="1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520341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Dulux Velvet Touch - Diamond Glo - YouTube">
            <a:extLst>
              <a:ext uri="{FF2B5EF4-FFF2-40B4-BE49-F238E27FC236}">
                <a16:creationId xmlns:a16="http://schemas.microsoft.com/office/drawing/2014/main" id="{0C930448-2B40-4947-DF7B-10DAAF6303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7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A bucket of paint with a logo&#10;&#10;Description automatically generated">
            <a:extLst>
              <a:ext uri="{FF2B5EF4-FFF2-40B4-BE49-F238E27FC236}">
                <a16:creationId xmlns:a16="http://schemas.microsoft.com/office/drawing/2014/main" id="{6E5CB16D-2238-2335-54BE-6A5591698E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6702" y="2217544"/>
            <a:ext cx="2787962" cy="2723424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FEAAEDD-E6FD-CE97-394E-25100015BC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FA49EE3-412F-FB30-0369-4E4DFCFFCF9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0068858">
            <a:off x="970538" y="1558749"/>
            <a:ext cx="564700" cy="5647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66F17D6-C5A3-90CC-99E9-EA5DE3C23C0F}"/>
              </a:ext>
            </a:extLst>
          </p:cNvPr>
          <p:cNvSpPr txBox="1"/>
          <p:nvPr/>
        </p:nvSpPr>
        <p:spPr>
          <a:xfrm>
            <a:off x="1257409" y="1729444"/>
            <a:ext cx="379639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400">
                <a:cs typeface="Arial"/>
              </a:rPr>
              <a:t>1</a:t>
            </a:r>
            <a:endParaRPr lang="en-US" sz="1400" b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3569CF6-46A1-F644-2C49-46F981ED1066}"/>
              </a:ext>
            </a:extLst>
          </p:cNvPr>
          <p:cNvSpPr txBox="1"/>
          <p:nvPr/>
        </p:nvSpPr>
        <p:spPr>
          <a:xfrm>
            <a:off x="4932993" y="4934512"/>
            <a:ext cx="4209690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i="1">
                <a:cs typeface="Arial"/>
              </a:rPr>
              <a:t>Click on the puzzle icon to hear Farah’s problem.</a:t>
            </a:r>
            <a:endParaRPr lang="en-US" sz="1400" b="1" i="1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DF7F36E-62D2-6215-28C1-CDF103BF334E}"/>
              </a:ext>
            </a:extLst>
          </p:cNvPr>
          <p:cNvSpPr txBox="1">
            <a:spLocks/>
          </p:cNvSpPr>
          <p:nvPr/>
        </p:nvSpPr>
        <p:spPr>
          <a:xfrm>
            <a:off x="506930" y="23907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3341506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lean windows empty white house blank">
            <a:extLst>
              <a:ext uri="{FF2B5EF4-FFF2-40B4-BE49-F238E27FC236}">
                <a16:creationId xmlns:a16="http://schemas.microsoft.com/office/drawing/2014/main" id="{543CDF36-6A1F-3090-3E17-0FC7A956D1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FEAAEDD-E6FD-CE97-394E-25100015BC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sp>
        <p:nvSpPr>
          <p:cNvPr id="4" name="Title 7">
            <a:extLst>
              <a:ext uri="{FF2B5EF4-FFF2-40B4-BE49-F238E27FC236}">
                <a16:creationId xmlns:a16="http://schemas.microsoft.com/office/drawing/2014/main" id="{3F7D2AEF-71C0-34D2-4EF0-23DBDC9D85D8}"/>
              </a:ext>
            </a:extLst>
          </p:cNvPr>
          <p:cNvSpPr txBox="1">
            <a:spLocks/>
          </p:cNvSpPr>
          <p:nvPr/>
        </p:nvSpPr>
        <p:spPr>
          <a:xfrm>
            <a:off x="506930" y="23907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>
                <a:solidFill>
                  <a:schemeClr val="tx1"/>
                </a:solidFill>
                <a:latin typeface="Colour Sans" panose="02000503030000020004" pitchFamily="2" charset="0"/>
              </a:rPr>
              <a:t>Problem Statement</a:t>
            </a:r>
          </a:p>
        </p:txBody>
      </p:sp>
      <p:sp>
        <p:nvSpPr>
          <p:cNvPr id="5" name="Speech Bubble: Rectangle with Corners Rounded 4">
            <a:extLst>
              <a:ext uri="{FF2B5EF4-FFF2-40B4-BE49-F238E27FC236}">
                <a16:creationId xmlns:a16="http://schemas.microsoft.com/office/drawing/2014/main" id="{2AED0E52-9D3F-E5E9-036C-1D89262E823A}"/>
              </a:ext>
            </a:extLst>
          </p:cNvPr>
          <p:cNvSpPr/>
          <p:nvPr/>
        </p:nvSpPr>
        <p:spPr>
          <a:xfrm>
            <a:off x="1978632" y="1455039"/>
            <a:ext cx="3491725" cy="1116711"/>
          </a:xfrm>
          <a:prstGeom prst="wedgeRoundRectCallout">
            <a:avLst>
              <a:gd name="adj1" fmla="val -83444"/>
              <a:gd name="adj2" fmla="val 17852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US" sz="16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 often find myself wondering how I can shape my home to fill me with pride and joy. Can the colours and style I choose truly achieve that?</a:t>
            </a:r>
            <a:endParaRPr lang="en-IN" sz="16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US" sz="16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IN" sz="16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05173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Rounded 1" descr="Yellow paint applied with a paint roller on a grey surface">
            <a:extLst>
              <a:ext uri="{FF2B5EF4-FFF2-40B4-BE49-F238E27FC236}">
                <a16:creationId xmlns:a16="http://schemas.microsoft.com/office/drawing/2014/main" id="{1D795914-02AD-F21D-B6E0-9E1168AB324B}"/>
              </a:ext>
            </a:extLst>
          </p:cNvPr>
          <p:cNvSpPr/>
          <p:nvPr/>
        </p:nvSpPr>
        <p:spPr>
          <a:xfrm>
            <a:off x="4473" y="239"/>
            <a:ext cx="9078243" cy="5138993"/>
          </a:xfrm>
          <a:prstGeom prst="round2DiagRect">
            <a:avLst>
              <a:gd name="adj1" fmla="val 0"/>
              <a:gd name="adj2" fmla="val 14184"/>
            </a:avLst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31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SG" dirty="0" err="1"/>
          </a:p>
        </p:txBody>
      </p:sp>
      <p:pic>
        <p:nvPicPr>
          <p:cNvPr id="13" name="Picture 12" descr="A bucket of paint with a logo&#10;&#10;Description automatically generated">
            <a:extLst>
              <a:ext uri="{FF2B5EF4-FFF2-40B4-BE49-F238E27FC236}">
                <a16:creationId xmlns:a16="http://schemas.microsoft.com/office/drawing/2014/main" id="{6E5CB16D-2238-2335-54BE-6A5591698E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63337" y="2311322"/>
            <a:ext cx="2541838" cy="2796021"/>
          </a:xfrm>
          <a:prstGeom prst="rect">
            <a:avLst/>
          </a:prstGeom>
        </p:spPr>
      </p:pic>
      <p:sp>
        <p:nvSpPr>
          <p:cNvPr id="4" name="Title 7">
            <a:extLst>
              <a:ext uri="{FF2B5EF4-FFF2-40B4-BE49-F238E27FC236}">
                <a16:creationId xmlns:a16="http://schemas.microsoft.com/office/drawing/2014/main" id="{3F7D2AEF-71C0-34D2-4EF0-23DBDC9D85D8}"/>
              </a:ext>
            </a:extLst>
          </p:cNvPr>
          <p:cNvSpPr txBox="1">
            <a:spLocks/>
          </p:cNvSpPr>
          <p:nvPr/>
        </p:nvSpPr>
        <p:spPr>
          <a:xfrm>
            <a:off x="506930" y="23907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>
                <a:solidFill>
                  <a:schemeClr val="tx1"/>
                </a:solidFill>
                <a:latin typeface="Colour Sans" panose="02000503030000020004" pitchFamily="2" charset="0"/>
              </a:rPr>
              <a:t>Benefi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4EEF3F-A927-0416-9673-7390AFFDD692}"/>
              </a:ext>
            </a:extLst>
          </p:cNvPr>
          <p:cNvSpPr/>
          <p:nvPr/>
        </p:nvSpPr>
        <p:spPr>
          <a:xfrm>
            <a:off x="442967" y="2233839"/>
            <a:ext cx="2580856" cy="7879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GB" dirty="0">
                <a:latin typeface="Calibri"/>
                <a:ea typeface="Calibri"/>
                <a:cs typeface="Calibri"/>
              </a:rPr>
              <a:t>Rich and vibrant colours maintain the house beauty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8A4463D-D77A-F2B1-63AC-76376B41CCFE}"/>
              </a:ext>
            </a:extLst>
          </p:cNvPr>
          <p:cNvSpPr/>
          <p:nvPr/>
        </p:nvSpPr>
        <p:spPr>
          <a:xfrm>
            <a:off x="3200400" y="1217691"/>
            <a:ext cx="3011740" cy="75184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GB" dirty="0">
                <a:latin typeface="Calibri"/>
                <a:ea typeface="Calibri"/>
                <a:cs typeface="Calibri"/>
              </a:rPr>
              <a:t>Timeless and enduring classis colours reflect latest design 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BBAD26C-5A57-DE7C-C552-624F214E6C8E}"/>
              </a:ext>
            </a:extLst>
          </p:cNvPr>
          <p:cNvSpPr/>
          <p:nvPr/>
        </p:nvSpPr>
        <p:spPr>
          <a:xfrm>
            <a:off x="5846016" y="2367008"/>
            <a:ext cx="2839125" cy="5361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GB" dirty="0">
                <a:latin typeface="Calibri"/>
                <a:ea typeface="Calibri"/>
                <a:cs typeface="Calibri"/>
              </a:rPr>
              <a:t>Anti-fungus and anti-mould properties protect walls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34487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C6AF0AA-5327-3859-282D-1C165BA712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4"/>
            <a:ext cx="9144000" cy="5140372"/>
          </a:xfrm>
          <a:prstGeom prst="rect">
            <a:avLst/>
          </a:prstGeom>
        </p:spPr>
      </p:pic>
      <p:sp>
        <p:nvSpPr>
          <p:cNvPr id="4" name="Title 7">
            <a:extLst>
              <a:ext uri="{FF2B5EF4-FFF2-40B4-BE49-F238E27FC236}">
                <a16:creationId xmlns:a16="http://schemas.microsoft.com/office/drawing/2014/main" id="{15F28F14-AD7A-F405-EA33-DE8201EF69B2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>
                <a:solidFill>
                  <a:srgbClr val="FFFFFF"/>
                </a:solidFill>
                <a:latin typeface="Colour Sans" panose="02000503030000020004" pitchFamily="2" charset="0"/>
              </a:rPr>
              <a:t>Features</a:t>
            </a:r>
          </a:p>
        </p:txBody>
      </p:sp>
      <p:pic>
        <p:nvPicPr>
          <p:cNvPr id="5" name="Picture 4" descr="A bucket of paint with a logo&#10;&#10;Description automatically generated">
            <a:extLst>
              <a:ext uri="{FF2B5EF4-FFF2-40B4-BE49-F238E27FC236}">
                <a16:creationId xmlns:a16="http://schemas.microsoft.com/office/drawing/2014/main" id="{73094E13-746F-B95E-DCBE-F6DBCC4147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60567" y="1308288"/>
            <a:ext cx="2675060" cy="255628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7156DC8-5EB8-19DD-44C6-05E620325F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46060" y="1198350"/>
            <a:ext cx="1319081" cy="3835212"/>
          </a:xfrm>
          <a:prstGeom prst="rect">
            <a:avLst/>
          </a:prstGeom>
        </p:spPr>
      </p:pic>
      <p:sp>
        <p:nvSpPr>
          <p:cNvPr id="8" name="Speech Bubble: Rectangle with Corners Rounded 7">
            <a:extLst>
              <a:ext uri="{FF2B5EF4-FFF2-40B4-BE49-F238E27FC236}">
                <a16:creationId xmlns:a16="http://schemas.microsoft.com/office/drawing/2014/main" id="{58C0E8F5-C2ED-14F8-3E5C-8BC7133F3BE0}"/>
              </a:ext>
            </a:extLst>
          </p:cNvPr>
          <p:cNvSpPr/>
          <p:nvPr/>
        </p:nvSpPr>
        <p:spPr>
          <a:xfrm>
            <a:off x="5161586" y="1752241"/>
            <a:ext cx="2505615" cy="819509"/>
          </a:xfrm>
          <a:prstGeom prst="wedgeRoundRectCallout">
            <a:avLst>
              <a:gd name="adj1" fmla="val 65995"/>
              <a:gd name="adj2" fmla="val 3002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US" sz="1400" b="0" i="0"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Let’s now unlock some extraordinary features that set Dulux Ambiance apart.</a:t>
            </a:r>
          </a:p>
        </p:txBody>
      </p:sp>
    </p:spTree>
    <p:extLst>
      <p:ext uri="{BB962C8B-B14F-4D97-AF65-F5344CB8AC3E}">
        <p14:creationId xmlns:p14="http://schemas.microsoft.com/office/powerpoint/2010/main" val="20989954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75312E1-35F2-472C-9AE4-C9260F4156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4"/>
            <a:ext cx="9144000" cy="514037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C468A7D-63E7-6CAF-1138-BBDD61520EC2}"/>
              </a:ext>
            </a:extLst>
          </p:cNvPr>
          <p:cNvSpPr txBox="1"/>
          <p:nvPr/>
        </p:nvSpPr>
        <p:spPr>
          <a:xfrm>
            <a:off x="2647025" y="4098817"/>
            <a:ext cx="5978294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i="1">
                <a:solidFill>
                  <a:srgbClr val="FFFFFF"/>
                </a:solidFill>
                <a:cs typeface="Arial"/>
              </a:rPr>
              <a:t>Click on each icon to learn more.</a:t>
            </a:r>
            <a:endParaRPr lang="en-US" sz="1400" b="1" i="1">
              <a:solidFill>
                <a:srgbClr val="FFFFFF"/>
              </a:solidFill>
            </a:endParaRPr>
          </a:p>
        </p:txBody>
      </p:sp>
      <p:pic>
        <p:nvPicPr>
          <p:cNvPr id="4" name="Picture 3" descr="A paint roller with orange paint&#10;&#10;Description automatically generated">
            <a:extLst>
              <a:ext uri="{FF2B5EF4-FFF2-40B4-BE49-F238E27FC236}">
                <a16:creationId xmlns:a16="http://schemas.microsoft.com/office/drawing/2014/main" id="{A570D094-ED71-5A7E-2213-A05CBC14F0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6304" y="939855"/>
            <a:ext cx="741308" cy="74130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DD15CED-A2DF-804E-F8F3-3DDDF58DB62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58689" y="962025"/>
            <a:ext cx="706821" cy="706821"/>
          </a:xfrm>
          <a:prstGeom prst="rect">
            <a:avLst/>
          </a:prstGeom>
        </p:spPr>
      </p:pic>
      <p:pic>
        <p:nvPicPr>
          <p:cNvPr id="6" name="Picture 5" descr="A blue and white circles&#10;&#10;Description automatically generated">
            <a:extLst>
              <a:ext uri="{FF2B5EF4-FFF2-40B4-BE49-F238E27FC236}">
                <a16:creationId xmlns:a16="http://schemas.microsoft.com/office/drawing/2014/main" id="{16640C9E-7569-AB91-D946-2F7ED904E14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41949" y="906681"/>
            <a:ext cx="738681" cy="738681"/>
          </a:xfrm>
          <a:prstGeom prst="rect">
            <a:avLst/>
          </a:prstGeom>
        </p:spPr>
      </p:pic>
      <p:pic>
        <p:nvPicPr>
          <p:cNvPr id="7" name="Picture 6" descr="A colorful circle with a black background&#10;&#10;Description automatically generated">
            <a:extLst>
              <a:ext uri="{FF2B5EF4-FFF2-40B4-BE49-F238E27FC236}">
                <a16:creationId xmlns:a16="http://schemas.microsoft.com/office/drawing/2014/main" id="{571A5694-7322-0DF4-9D68-47E3900520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32953" y="881720"/>
            <a:ext cx="778751" cy="778751"/>
          </a:xfrm>
          <a:prstGeom prst="rect">
            <a:avLst/>
          </a:prstGeom>
        </p:spPr>
      </p:pic>
      <p:pic>
        <p:nvPicPr>
          <p:cNvPr id="8" name="Picture 7" descr="A hand with a sponge and stars&#10;&#10;Description automatically generated">
            <a:extLst>
              <a:ext uri="{FF2B5EF4-FFF2-40B4-BE49-F238E27FC236}">
                <a16:creationId xmlns:a16="http://schemas.microsoft.com/office/drawing/2014/main" id="{675EA8BF-EF7F-BF2F-93C3-208E23CCA8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52860" y="944781"/>
            <a:ext cx="672334" cy="682188"/>
          </a:xfrm>
          <a:prstGeom prst="rect">
            <a:avLst/>
          </a:prstGeom>
        </p:spPr>
      </p:pic>
      <p:pic>
        <p:nvPicPr>
          <p:cNvPr id="9" name="Picture 8" descr="A paint brush with a pink paint dripping&#10;&#10;Description automatically generated">
            <a:extLst>
              <a:ext uri="{FF2B5EF4-FFF2-40B4-BE49-F238E27FC236}">
                <a16:creationId xmlns:a16="http://schemas.microsoft.com/office/drawing/2014/main" id="{17B5C846-7C4B-D1A2-C94B-57E1DA10207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22337" y="990272"/>
            <a:ext cx="640146" cy="630621"/>
          </a:xfrm>
          <a:prstGeom prst="rect">
            <a:avLst/>
          </a:prstGeom>
        </p:spPr>
      </p:pic>
      <p:pic>
        <p:nvPicPr>
          <p:cNvPr id="10" name="Picture 9" descr="A black and white logo&#10;&#10;Description automatically generated">
            <a:extLst>
              <a:ext uri="{FF2B5EF4-FFF2-40B4-BE49-F238E27FC236}">
                <a16:creationId xmlns:a16="http://schemas.microsoft.com/office/drawing/2014/main" id="{0B813040-D1A5-7150-44F8-6761B7F5087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5153" y="3171989"/>
            <a:ext cx="546538" cy="622410"/>
          </a:xfrm>
          <a:prstGeom prst="rect">
            <a:avLst/>
          </a:prstGeom>
        </p:spPr>
      </p:pic>
      <p:pic>
        <p:nvPicPr>
          <p:cNvPr id="11" name="Picture 10" descr="A blue and white logo&#10;&#10;Description automatically generated">
            <a:extLst>
              <a:ext uri="{FF2B5EF4-FFF2-40B4-BE49-F238E27FC236}">
                <a16:creationId xmlns:a16="http://schemas.microsoft.com/office/drawing/2014/main" id="{198CDFFF-DC71-98AF-5900-6FC68602EE6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763932" y="3044224"/>
            <a:ext cx="886482" cy="868089"/>
          </a:xfrm>
          <a:prstGeom prst="rect">
            <a:avLst/>
          </a:prstGeom>
        </p:spPr>
      </p:pic>
      <p:pic>
        <p:nvPicPr>
          <p:cNvPr id="12" name="Picture 11" descr="A blue and silver logo&#10;&#10;Description automatically generated">
            <a:extLst>
              <a:ext uri="{FF2B5EF4-FFF2-40B4-BE49-F238E27FC236}">
                <a16:creationId xmlns:a16="http://schemas.microsoft.com/office/drawing/2014/main" id="{5172F1BC-BAD0-1036-8110-B7B0CA31028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557259" y="3044224"/>
            <a:ext cx="837215" cy="818822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016004BA-754D-26A9-2D44-03CAF1BA102B}"/>
              </a:ext>
            </a:extLst>
          </p:cNvPr>
          <p:cNvGrpSpPr/>
          <p:nvPr/>
        </p:nvGrpSpPr>
        <p:grpSpPr>
          <a:xfrm>
            <a:off x="5192765" y="2749111"/>
            <a:ext cx="1265842" cy="1167306"/>
            <a:chOff x="4236981" y="2689991"/>
            <a:chExt cx="1265842" cy="1167306"/>
          </a:xfrm>
        </p:grpSpPr>
        <p:pic>
          <p:nvPicPr>
            <p:cNvPr id="14" name="Picture 13" descr="A yellow bucket with red paint&#10;&#10;Description automatically generated">
              <a:extLst>
                <a:ext uri="{FF2B5EF4-FFF2-40B4-BE49-F238E27FC236}">
                  <a16:creationId xmlns:a16="http://schemas.microsoft.com/office/drawing/2014/main" id="{FE5CA92F-26DA-568B-F19F-0CADB92710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833116" y="3187590"/>
              <a:ext cx="669707" cy="669707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07BA3A3E-2171-2B13-37B1-D4F414B8D61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325664" y="2808233"/>
              <a:ext cx="360637" cy="360637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9403388E-0D73-4B11-1A9E-ED8EBD6F9D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236981" y="3231931"/>
              <a:ext cx="537999" cy="557705"/>
            </a:xfrm>
            <a:prstGeom prst="rect">
              <a:avLst/>
            </a:prstGeom>
          </p:spPr>
        </p:pic>
        <p:pic>
          <p:nvPicPr>
            <p:cNvPr id="17" name="Picture 16" descr="A yellow paint can with red paint on it&#10;&#10;Description automatically generated">
              <a:extLst>
                <a:ext uri="{FF2B5EF4-FFF2-40B4-BE49-F238E27FC236}">
                  <a16:creationId xmlns:a16="http://schemas.microsoft.com/office/drawing/2014/main" id="{DEA3FEAB-4534-CD02-3AF2-1BCCD0E2EC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759213" y="2689991"/>
              <a:ext cx="459172" cy="478878"/>
            </a:xfrm>
            <a:prstGeom prst="rect">
              <a:avLst/>
            </a:prstGeom>
          </p:spPr>
        </p:pic>
      </p:grpSp>
      <p:pic>
        <p:nvPicPr>
          <p:cNvPr id="18" name="Picture 17" descr="A clock with arrows pointing to the left&#10;&#10;Description automatically generated">
            <a:extLst>
              <a:ext uri="{FF2B5EF4-FFF2-40B4-BE49-F238E27FC236}">
                <a16:creationId xmlns:a16="http://schemas.microsoft.com/office/drawing/2014/main" id="{F1A7CB92-10A4-583E-FA03-347897BCF49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253616" y="2967366"/>
            <a:ext cx="942975" cy="942975"/>
          </a:xfrm>
          <a:prstGeom prst="rect">
            <a:avLst/>
          </a:prstGeom>
        </p:spPr>
      </p:pic>
      <p:sp>
        <p:nvSpPr>
          <p:cNvPr id="19" name="Title 7">
            <a:extLst>
              <a:ext uri="{FF2B5EF4-FFF2-40B4-BE49-F238E27FC236}">
                <a16:creationId xmlns:a16="http://schemas.microsoft.com/office/drawing/2014/main" id="{A590A10A-513D-B445-BCAD-11CFE2C3D144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>
                <a:solidFill>
                  <a:srgbClr val="FFFFFF"/>
                </a:solidFill>
                <a:latin typeface="Colour Sans" panose="02000503030000020004" pitchFamily="2" charset="0"/>
              </a:rPr>
              <a:t>Features</a:t>
            </a:r>
          </a:p>
        </p:txBody>
      </p:sp>
    </p:spTree>
    <p:extLst>
      <p:ext uri="{BB962C8B-B14F-4D97-AF65-F5344CB8AC3E}">
        <p14:creationId xmlns:p14="http://schemas.microsoft.com/office/powerpoint/2010/main" val="18101011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75312E1-35F2-472C-9AE4-C9260F4156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4"/>
            <a:ext cx="9144000" cy="5140372"/>
          </a:xfrm>
          <a:prstGeom prst="rect">
            <a:avLst/>
          </a:prstGeom>
        </p:spPr>
      </p:pic>
      <p:sp>
        <p:nvSpPr>
          <p:cNvPr id="19" name="Title 7">
            <a:extLst>
              <a:ext uri="{FF2B5EF4-FFF2-40B4-BE49-F238E27FC236}">
                <a16:creationId xmlns:a16="http://schemas.microsoft.com/office/drawing/2014/main" id="{A590A10A-513D-B445-BCAD-11CFE2C3D144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>
                <a:solidFill>
                  <a:srgbClr val="FFFFFF"/>
                </a:solidFill>
                <a:latin typeface="Colour Sans" panose="02000503030000020004" pitchFamily="2" charset="0"/>
              </a:rPr>
              <a:t>Features</a:t>
            </a:r>
          </a:p>
        </p:txBody>
      </p:sp>
      <p:pic>
        <p:nvPicPr>
          <p:cNvPr id="20" name="Picture 19" descr="A paint roller with orange paint&#10;&#10;Description automatically generated">
            <a:extLst>
              <a:ext uri="{FF2B5EF4-FFF2-40B4-BE49-F238E27FC236}">
                <a16:creationId xmlns:a16="http://schemas.microsoft.com/office/drawing/2014/main" id="{C61601BA-0A14-162B-51FE-CDDD8A6448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4706" y="958411"/>
            <a:ext cx="741308" cy="74130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A2B9F16-F0F7-13EF-B9D7-C5498109DA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97091" y="980581"/>
            <a:ext cx="706821" cy="706821"/>
          </a:xfrm>
          <a:prstGeom prst="rect">
            <a:avLst/>
          </a:prstGeom>
        </p:spPr>
      </p:pic>
      <p:pic>
        <p:nvPicPr>
          <p:cNvPr id="22" name="Picture 21" descr="A blue and white circles&#10;&#10;Description automatically generated">
            <a:extLst>
              <a:ext uri="{FF2B5EF4-FFF2-40B4-BE49-F238E27FC236}">
                <a16:creationId xmlns:a16="http://schemas.microsoft.com/office/drawing/2014/main" id="{4452675F-F4F3-C59C-78CD-A200FBB5BC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80351" y="925237"/>
            <a:ext cx="738681" cy="738681"/>
          </a:xfrm>
          <a:prstGeom prst="rect">
            <a:avLst/>
          </a:prstGeom>
        </p:spPr>
      </p:pic>
      <p:pic>
        <p:nvPicPr>
          <p:cNvPr id="23" name="Picture 22" descr="A colorful circle with a black background&#10;&#10;Description automatically generated">
            <a:extLst>
              <a:ext uri="{FF2B5EF4-FFF2-40B4-BE49-F238E27FC236}">
                <a16:creationId xmlns:a16="http://schemas.microsoft.com/office/drawing/2014/main" id="{44A6C37E-662A-5C43-E68C-7F43387DC32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71355" y="900276"/>
            <a:ext cx="778751" cy="778751"/>
          </a:xfrm>
          <a:prstGeom prst="rect">
            <a:avLst/>
          </a:prstGeom>
        </p:spPr>
      </p:pic>
      <p:pic>
        <p:nvPicPr>
          <p:cNvPr id="24" name="Picture 23" descr="A hand with a sponge and stars&#10;&#10;Description automatically generated">
            <a:extLst>
              <a:ext uri="{FF2B5EF4-FFF2-40B4-BE49-F238E27FC236}">
                <a16:creationId xmlns:a16="http://schemas.microsoft.com/office/drawing/2014/main" id="{48140C5C-4EC9-A11D-CB8C-8D9743EF67F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72115" y="977479"/>
            <a:ext cx="672334" cy="682188"/>
          </a:xfrm>
          <a:prstGeom prst="rect">
            <a:avLst/>
          </a:prstGeom>
        </p:spPr>
      </p:pic>
      <p:pic>
        <p:nvPicPr>
          <p:cNvPr id="25" name="Picture 24" descr="A paint brush with a pink paint dripping&#10;&#10;Description automatically generated">
            <a:extLst>
              <a:ext uri="{FF2B5EF4-FFF2-40B4-BE49-F238E27FC236}">
                <a16:creationId xmlns:a16="http://schemas.microsoft.com/office/drawing/2014/main" id="{F6B39247-1491-45B1-4984-062E687499C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44706" y="3108150"/>
            <a:ext cx="640146" cy="630621"/>
          </a:xfrm>
          <a:prstGeom prst="rect">
            <a:avLst/>
          </a:prstGeom>
        </p:spPr>
      </p:pic>
      <p:pic>
        <p:nvPicPr>
          <p:cNvPr id="26" name="Picture 25" descr="A black and white logo&#10;&#10;Description automatically generated">
            <a:extLst>
              <a:ext uri="{FF2B5EF4-FFF2-40B4-BE49-F238E27FC236}">
                <a16:creationId xmlns:a16="http://schemas.microsoft.com/office/drawing/2014/main" id="{007F173E-A133-ED82-4645-B4D89BDFA56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538572" y="3078416"/>
            <a:ext cx="546538" cy="622410"/>
          </a:xfrm>
          <a:prstGeom prst="rect">
            <a:avLst/>
          </a:prstGeom>
        </p:spPr>
      </p:pic>
      <p:pic>
        <p:nvPicPr>
          <p:cNvPr id="30" name="Picture 29" descr="A yellow bucket with red paint&#10;&#10;Description automatically generated">
            <a:extLst>
              <a:ext uri="{FF2B5EF4-FFF2-40B4-BE49-F238E27FC236}">
                <a16:creationId xmlns:a16="http://schemas.microsoft.com/office/drawing/2014/main" id="{E8BC18D0-415B-7A60-FA36-4ABCE737F1A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19438" y="3281969"/>
            <a:ext cx="669707" cy="66970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D5B49E17-3A0D-4891-47AE-C66EE6ED7E2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923303" y="3326310"/>
            <a:ext cx="537999" cy="557705"/>
          </a:xfrm>
          <a:prstGeom prst="rect">
            <a:avLst/>
          </a:prstGeom>
        </p:spPr>
      </p:pic>
      <p:pic>
        <p:nvPicPr>
          <p:cNvPr id="34" name="Picture 33" descr="A clock with arrows pointing to the left&#10;&#10;Description automatically generated">
            <a:extLst>
              <a:ext uri="{FF2B5EF4-FFF2-40B4-BE49-F238E27FC236}">
                <a16:creationId xmlns:a16="http://schemas.microsoft.com/office/drawing/2014/main" id="{3FF93CF8-B4E8-D4E7-FA7C-D1EE27594BD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037102" y="2997938"/>
            <a:ext cx="942975" cy="942975"/>
          </a:xfrm>
          <a:prstGeom prst="rect">
            <a:avLst/>
          </a:prstGeom>
        </p:spPr>
      </p:pic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68B0C647-18E1-1C04-50DC-2D9D1ECA11EA}"/>
              </a:ext>
            </a:extLst>
          </p:cNvPr>
          <p:cNvSpPr/>
          <p:nvPr/>
        </p:nvSpPr>
        <p:spPr>
          <a:xfrm>
            <a:off x="610521" y="1819430"/>
            <a:ext cx="1145128" cy="29218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mooth Finish</a:t>
            </a:r>
            <a:endParaRPr lang="en-GB" sz="140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D76B4AD8-BF03-6171-7281-C17DF0D35C90}"/>
              </a:ext>
            </a:extLst>
          </p:cNvPr>
          <p:cNvSpPr/>
          <p:nvPr/>
        </p:nvSpPr>
        <p:spPr>
          <a:xfrm>
            <a:off x="1999487" y="1818819"/>
            <a:ext cx="1134720" cy="50023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6-18 m</a:t>
            </a:r>
            <a:r>
              <a:rPr lang="en-US" sz="1400" baseline="30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L  Coverage</a:t>
            </a:r>
            <a:endParaRPr lang="en-GB" sz="14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C1D6EEA-E717-06AF-897F-0603D5EBCA18}"/>
              </a:ext>
            </a:extLst>
          </p:cNvPr>
          <p:cNvSpPr/>
          <p:nvPr/>
        </p:nvSpPr>
        <p:spPr>
          <a:xfrm>
            <a:off x="3735612" y="4060714"/>
            <a:ext cx="1672229" cy="41161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L and 4 L Available Sizes</a:t>
            </a:r>
            <a:endParaRPr lang="en-GB" sz="14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2D7089DF-7C9F-9726-D8FD-9D39EBAC4823}"/>
              </a:ext>
            </a:extLst>
          </p:cNvPr>
          <p:cNvSpPr/>
          <p:nvPr/>
        </p:nvSpPr>
        <p:spPr>
          <a:xfrm>
            <a:off x="6000158" y="4046733"/>
            <a:ext cx="1079055" cy="47184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ng-Lasting Durability</a:t>
            </a:r>
            <a:endParaRPr lang="en-GB" sz="14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7183CC98-2E7E-887F-63BB-52ADBD7D47DC}"/>
              </a:ext>
            </a:extLst>
          </p:cNvPr>
          <p:cNvSpPr/>
          <p:nvPr/>
        </p:nvSpPr>
        <p:spPr>
          <a:xfrm>
            <a:off x="3539649" y="1823986"/>
            <a:ext cx="1026887" cy="45969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gh Opacity</a:t>
            </a:r>
            <a:endParaRPr lang="en-GB" sz="14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802FCF28-1C00-F418-8CA6-CF82EAA05111}"/>
              </a:ext>
            </a:extLst>
          </p:cNvPr>
          <p:cNvSpPr/>
          <p:nvPr/>
        </p:nvSpPr>
        <p:spPr>
          <a:xfrm>
            <a:off x="5019221" y="1885840"/>
            <a:ext cx="1386438" cy="42893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77 Colour Availability</a:t>
            </a:r>
            <a:endParaRPr lang="en-GB" sz="14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5C9C47CF-0A49-EFE5-4A6B-C0E88688D991}"/>
              </a:ext>
            </a:extLst>
          </p:cNvPr>
          <p:cNvSpPr/>
          <p:nvPr/>
        </p:nvSpPr>
        <p:spPr>
          <a:xfrm>
            <a:off x="6697183" y="1901209"/>
            <a:ext cx="1112865" cy="45114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perior Washability</a:t>
            </a:r>
            <a:endParaRPr lang="en-GB" sz="14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AD2CB0EF-D26E-5533-1BCB-991CA244DAAB}"/>
              </a:ext>
            </a:extLst>
          </p:cNvPr>
          <p:cNvSpPr/>
          <p:nvPr/>
        </p:nvSpPr>
        <p:spPr>
          <a:xfrm>
            <a:off x="679227" y="4033699"/>
            <a:ext cx="1204244" cy="49791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st-in-Class Colour Fastness</a:t>
            </a:r>
            <a:endParaRPr lang="en-GB" sz="14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02AC9AEF-E01C-61ED-AF98-9786325E3B33}"/>
              </a:ext>
            </a:extLst>
          </p:cNvPr>
          <p:cNvSpPr/>
          <p:nvPr/>
        </p:nvSpPr>
        <p:spPr>
          <a:xfrm>
            <a:off x="2102965" y="4046733"/>
            <a:ext cx="1397155" cy="54701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uld and Fungus Protection</a:t>
            </a:r>
            <a:endParaRPr lang="en-GB" sz="14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1482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Free photo clean windows empty white house blank">
            <a:extLst>
              <a:ext uri="{FF2B5EF4-FFF2-40B4-BE49-F238E27FC236}">
                <a16:creationId xmlns:a16="http://schemas.microsoft.com/office/drawing/2014/main" id="{FED919FD-864F-F695-2C0B-C97D4BE9EB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2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7">
            <a:extLst>
              <a:ext uri="{FF2B5EF4-FFF2-40B4-BE49-F238E27FC236}">
                <a16:creationId xmlns:a16="http://schemas.microsoft.com/office/drawing/2014/main" id="{FF6907B8-75EB-895A-3E3C-BE0B95AA11C1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>
                <a:latin typeface="Colour Sans" panose="02000503030000020004" pitchFamily="2" charset="0"/>
              </a:rPr>
              <a:t>Resul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E81909-F9A2-753D-E62D-5064F69CA9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pic>
        <p:nvPicPr>
          <p:cNvPr id="5" name="Picture 4" descr="A bucket of paint with a logo&#10;&#10;Description automatically generated">
            <a:extLst>
              <a:ext uri="{FF2B5EF4-FFF2-40B4-BE49-F238E27FC236}">
                <a16:creationId xmlns:a16="http://schemas.microsoft.com/office/drawing/2014/main" id="{B4435543-0D13-441B-E6E2-B4FC2C710C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01081" y="1642311"/>
            <a:ext cx="2541838" cy="2796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8634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Rounded 1" descr="Yellow paint applied with a paint roller on a grey surface">
            <a:extLst>
              <a:ext uri="{FF2B5EF4-FFF2-40B4-BE49-F238E27FC236}">
                <a16:creationId xmlns:a16="http://schemas.microsoft.com/office/drawing/2014/main" id="{FFFCA146-B6DA-2566-2A31-973D757DF7C8}"/>
              </a:ext>
            </a:extLst>
          </p:cNvPr>
          <p:cNvSpPr/>
          <p:nvPr/>
        </p:nvSpPr>
        <p:spPr>
          <a:xfrm>
            <a:off x="4472" y="-1620"/>
            <a:ext cx="9207639" cy="5063512"/>
          </a:xfrm>
          <a:prstGeom prst="round2DiagRect">
            <a:avLst>
              <a:gd name="adj1" fmla="val 0"/>
              <a:gd name="adj2" fmla="val 14184"/>
            </a:avLst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31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SG" dirty="0" err="1"/>
          </a:p>
        </p:txBody>
      </p:sp>
      <p:pic>
        <p:nvPicPr>
          <p:cNvPr id="3" name="Picture 2" descr="A bucket of paint with a child drawing on it&#10;&#10;Description automatically generated">
            <a:extLst>
              <a:ext uri="{FF2B5EF4-FFF2-40B4-BE49-F238E27FC236}">
                <a16:creationId xmlns:a16="http://schemas.microsoft.com/office/drawing/2014/main" id="{578ED3C6-A811-276D-25F6-64D80CE652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003" y="2916048"/>
            <a:ext cx="2438901" cy="222745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9ACF2B-A405-D6BC-4823-E991D076A1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52334" y="3285047"/>
            <a:ext cx="3191689" cy="186428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2DA4A2B-6274-82E1-E918-C3006FDBC2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28498" y="2409549"/>
            <a:ext cx="1053911" cy="100195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E2DE3C1-003D-D7DF-80AA-D692FC71870D}"/>
              </a:ext>
            </a:extLst>
          </p:cNvPr>
          <p:cNvSpPr txBox="1"/>
          <p:nvPr/>
        </p:nvSpPr>
        <p:spPr>
          <a:xfrm>
            <a:off x="2914395" y="323760"/>
            <a:ext cx="2545824" cy="54158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400" b="1" dirty="0">
                <a:cs typeface="Arial"/>
              </a:rPr>
              <a:t>Delays stains from penetrating on your walls.</a:t>
            </a: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C01620-8736-8094-328F-C966A17CC54E}"/>
              </a:ext>
            </a:extLst>
          </p:cNvPr>
          <p:cNvSpPr txBox="1"/>
          <p:nvPr/>
        </p:nvSpPr>
        <p:spPr>
          <a:xfrm>
            <a:off x="3037136" y="4416422"/>
            <a:ext cx="4508810" cy="55399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solidFill>
                  <a:srgbClr val="000000"/>
                </a:solidFill>
                <a:cs typeface="Arial"/>
              </a:rPr>
              <a:t>Say goodbye to the stress of keeping your walls fresh and clean.</a:t>
            </a:r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1F26F8E1-6E8B-2CD0-04C2-F73F5EAEB33C}"/>
              </a:ext>
            </a:extLst>
          </p:cNvPr>
          <p:cNvSpPr txBox="1">
            <a:spLocks/>
          </p:cNvSpPr>
          <p:nvPr/>
        </p:nvSpPr>
        <p:spPr>
          <a:xfrm>
            <a:off x="75609" y="142179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latin typeface="Colour Sans" panose="02000503030000020004" pitchFamily="2" charset="0"/>
              </a:rPr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39671694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Diagonal Corners Rounded 10" descr="Yellow paint applied with a paint roller on a grey surface">
            <a:extLst>
              <a:ext uri="{FF2B5EF4-FFF2-40B4-BE49-F238E27FC236}">
                <a16:creationId xmlns:a16="http://schemas.microsoft.com/office/drawing/2014/main" id="{B010DD73-78EF-F9C8-5EF8-D73553C26C14}"/>
              </a:ext>
            </a:extLst>
          </p:cNvPr>
          <p:cNvSpPr/>
          <p:nvPr/>
        </p:nvSpPr>
        <p:spPr>
          <a:xfrm>
            <a:off x="4472" y="-1620"/>
            <a:ext cx="9207639" cy="5063512"/>
          </a:xfrm>
          <a:prstGeom prst="round2DiagRect">
            <a:avLst>
              <a:gd name="adj1" fmla="val 0"/>
              <a:gd name="adj2" fmla="val 14184"/>
            </a:avLst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31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SG" dirty="0" err="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21F6A25-AD40-BB6A-68A8-A8CBB2DCD1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068858">
            <a:off x="1207765" y="1299957"/>
            <a:ext cx="564700" cy="564700"/>
          </a:xfrm>
          <a:prstGeom prst="rect">
            <a:avLst/>
          </a:prstGeom>
        </p:spPr>
      </p:pic>
      <p:pic>
        <p:nvPicPr>
          <p:cNvPr id="3" name="Picture 2" descr="A bucket of paint with a child drawing on it&#10;&#10;Description automatically generated">
            <a:extLst>
              <a:ext uri="{FF2B5EF4-FFF2-40B4-BE49-F238E27FC236}">
                <a16:creationId xmlns:a16="http://schemas.microsoft.com/office/drawing/2014/main" id="{7F07DC12-70EF-AB7A-53F6-5ABB7C46E3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96049" y="1792440"/>
            <a:ext cx="2412915" cy="2175710"/>
          </a:xfrm>
          <a:prstGeom prst="rect">
            <a:avLst/>
          </a:prstGeom>
        </p:spPr>
      </p:pic>
      <p:sp>
        <p:nvSpPr>
          <p:cNvPr id="4" name="Title 7">
            <a:extLst>
              <a:ext uri="{FF2B5EF4-FFF2-40B4-BE49-F238E27FC236}">
                <a16:creationId xmlns:a16="http://schemas.microsoft.com/office/drawing/2014/main" id="{A1A0FA52-F9F6-7EFD-9723-67E8FE43D5D8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>
                <a:latin typeface="Colour Sans" panose="02000503030000020004" pitchFamily="2" charset="0"/>
              </a:rPr>
              <a:t>Problem Statement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5B3B194-8CE9-CF65-A81E-78386AB242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12145D6-D2B3-A006-4EE4-41D4BF1E5FDA}"/>
              </a:ext>
            </a:extLst>
          </p:cNvPr>
          <p:cNvSpPr txBox="1"/>
          <p:nvPr/>
        </p:nvSpPr>
        <p:spPr>
          <a:xfrm rot="20114476">
            <a:off x="1537194" y="1367972"/>
            <a:ext cx="401053" cy="2887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b="1"/>
              <a:t>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21F014-D699-A9B0-1444-68B84CBC5BE2}"/>
              </a:ext>
            </a:extLst>
          </p:cNvPr>
          <p:cNvSpPr txBox="1"/>
          <p:nvPr/>
        </p:nvSpPr>
        <p:spPr>
          <a:xfrm>
            <a:off x="4523238" y="4837465"/>
            <a:ext cx="4209690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i="1">
                <a:cs typeface="Arial"/>
              </a:rPr>
              <a:t>Click on the puzzle icon to hear Farah’s problem.</a:t>
            </a:r>
            <a:endParaRPr lang="en-US" sz="1400" b="1" i="1"/>
          </a:p>
        </p:txBody>
      </p:sp>
    </p:spTree>
    <p:extLst>
      <p:ext uri="{BB962C8B-B14F-4D97-AF65-F5344CB8AC3E}">
        <p14:creationId xmlns:p14="http://schemas.microsoft.com/office/powerpoint/2010/main" val="8078605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all with water stains on it&#10;&#10;Description automatically generated">
            <a:extLst>
              <a:ext uri="{FF2B5EF4-FFF2-40B4-BE49-F238E27FC236}">
                <a16:creationId xmlns:a16="http://schemas.microsoft.com/office/drawing/2014/main" id="{F9A1DD67-9EBB-E95D-E17C-D092EC7CF69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48" r="3642"/>
          <a:stretch/>
        </p:blipFill>
        <p:spPr>
          <a:xfrm>
            <a:off x="7056" y="0"/>
            <a:ext cx="9184578" cy="51435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B73DBB-E810-EC96-57AD-7424279BCA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sp>
        <p:nvSpPr>
          <p:cNvPr id="5" name="Speech Bubble: Rectangle with Corners Rounded 4">
            <a:extLst>
              <a:ext uri="{FF2B5EF4-FFF2-40B4-BE49-F238E27FC236}">
                <a16:creationId xmlns:a16="http://schemas.microsoft.com/office/drawing/2014/main" id="{535CCF12-61E7-E726-03F7-07587DC52D74}"/>
              </a:ext>
            </a:extLst>
          </p:cNvPr>
          <p:cNvSpPr/>
          <p:nvPr/>
        </p:nvSpPr>
        <p:spPr>
          <a:xfrm>
            <a:off x="1978632" y="1455039"/>
            <a:ext cx="3908821" cy="1256077"/>
          </a:xfrm>
          <a:prstGeom prst="wedgeRoundRectCallout">
            <a:avLst>
              <a:gd name="adj1" fmla="val -71543"/>
              <a:gd name="adj2" fmla="val 4729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en painting a room, I want my walls to look good and stand the test of time however I know that daily life will eventually take its toll on them. How can I address this concern?</a:t>
            </a:r>
            <a:endParaRPr lang="en-US" sz="16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26545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0646E72-7859-8B25-0D10-3B643D8AA4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9574" y="-602917"/>
            <a:ext cx="9152790" cy="5751290"/>
          </a:xfrm>
          <a:prstGeom prst="rect">
            <a:avLst/>
          </a:prstGeom>
        </p:spPr>
      </p:pic>
      <p:sp>
        <p:nvSpPr>
          <p:cNvPr id="2" name="Title 7">
            <a:extLst>
              <a:ext uri="{FF2B5EF4-FFF2-40B4-BE49-F238E27FC236}">
                <a16:creationId xmlns:a16="http://schemas.microsoft.com/office/drawing/2014/main" id="{4E24642E-B7A2-9315-9FE3-5E2F0A62D339}"/>
              </a:ext>
            </a:extLst>
          </p:cNvPr>
          <p:cNvSpPr txBox="1">
            <a:spLocks/>
          </p:cNvSpPr>
          <p:nvPr/>
        </p:nvSpPr>
        <p:spPr>
          <a:xfrm>
            <a:off x="245436" y="242854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>
                <a:latin typeface="Colour Sans" panose="02000503030000020004" pitchFamily="2" charset="0"/>
              </a:rPr>
              <a:t>Diverse Paint Solutions</a:t>
            </a:r>
          </a:p>
        </p:txBody>
      </p:sp>
      <p:sp>
        <p:nvSpPr>
          <p:cNvPr id="7" name="Rectangle: Diagonal Corners Rounded 6">
            <a:extLst>
              <a:ext uri="{FF2B5EF4-FFF2-40B4-BE49-F238E27FC236}">
                <a16:creationId xmlns:a16="http://schemas.microsoft.com/office/drawing/2014/main" id="{23B627E6-147D-460B-AE7A-35B495BC5DDD}"/>
              </a:ext>
            </a:extLst>
          </p:cNvPr>
          <p:cNvSpPr/>
          <p:nvPr/>
        </p:nvSpPr>
        <p:spPr>
          <a:xfrm>
            <a:off x="923617" y="962854"/>
            <a:ext cx="1578634" cy="1340177"/>
          </a:xfrm>
          <a:prstGeom prst="round2Diag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n-US">
              <a:solidFill>
                <a:srgbClr val="000000"/>
              </a:solidFill>
            </a:endParaRPr>
          </a:p>
          <a:p>
            <a:pPr algn="ctr"/>
            <a:r>
              <a:rPr lang="en-US">
                <a:solidFill>
                  <a:srgbClr val="000000"/>
                </a:solidFill>
              </a:rPr>
              <a:t>Interior Wall Paints</a:t>
            </a:r>
            <a:endParaRPr lang="en-GB" err="1">
              <a:solidFill>
                <a:srgbClr val="000000"/>
              </a:solidFill>
            </a:endParaRPr>
          </a:p>
        </p:txBody>
      </p:sp>
      <p:sp>
        <p:nvSpPr>
          <p:cNvPr id="10" name="Rectangle: Diagonal Corners Rounded 9">
            <a:extLst>
              <a:ext uri="{FF2B5EF4-FFF2-40B4-BE49-F238E27FC236}">
                <a16:creationId xmlns:a16="http://schemas.microsoft.com/office/drawing/2014/main" id="{D1A8B5EE-1A52-3B0B-985A-1213085ED6B2}"/>
              </a:ext>
            </a:extLst>
          </p:cNvPr>
          <p:cNvSpPr/>
          <p:nvPr/>
        </p:nvSpPr>
        <p:spPr>
          <a:xfrm>
            <a:off x="3767504" y="955271"/>
            <a:ext cx="1578634" cy="1340177"/>
          </a:xfrm>
          <a:prstGeom prst="round2Diag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n-US">
              <a:solidFill>
                <a:srgbClr val="000000"/>
              </a:solidFill>
            </a:endParaRPr>
          </a:p>
          <a:p>
            <a:pPr algn="ctr"/>
            <a:r>
              <a:rPr lang="en-US">
                <a:solidFill>
                  <a:srgbClr val="000000"/>
                </a:solidFill>
              </a:rPr>
              <a:t>Exterior Wall Paints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Rectangle: Diagonal Corners Rounded 10">
            <a:extLst>
              <a:ext uri="{FF2B5EF4-FFF2-40B4-BE49-F238E27FC236}">
                <a16:creationId xmlns:a16="http://schemas.microsoft.com/office/drawing/2014/main" id="{FC869C8E-A20D-81F4-28C7-EF57F394C089}"/>
              </a:ext>
            </a:extLst>
          </p:cNvPr>
          <p:cNvSpPr/>
          <p:nvPr/>
        </p:nvSpPr>
        <p:spPr>
          <a:xfrm>
            <a:off x="6365279" y="892533"/>
            <a:ext cx="1578634" cy="1340177"/>
          </a:xfrm>
          <a:prstGeom prst="round2Diag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n-US">
              <a:solidFill>
                <a:srgbClr val="000000"/>
              </a:solidFill>
            </a:endParaRPr>
          </a:p>
          <a:p>
            <a:pPr algn="ctr"/>
            <a:r>
              <a:rPr lang="en-US">
                <a:solidFill>
                  <a:srgbClr val="000000"/>
                </a:solidFill>
              </a:rPr>
              <a:t>Trims</a:t>
            </a:r>
          </a:p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75B56F3-E7AD-EF98-9EA3-FCFF0548E6C9}"/>
              </a:ext>
            </a:extLst>
          </p:cNvPr>
          <p:cNvSpPr txBox="1"/>
          <p:nvPr/>
        </p:nvSpPr>
        <p:spPr>
          <a:xfrm>
            <a:off x="2410991" y="4143245"/>
            <a:ext cx="4322018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i="1">
                <a:cs typeface="Arial"/>
              </a:rPr>
              <a:t>Click on each category to begin your exploration.</a:t>
            </a:r>
            <a:endParaRPr lang="en-US" sz="1400" b="1" i="1"/>
          </a:p>
        </p:txBody>
      </p:sp>
      <p:sp>
        <p:nvSpPr>
          <p:cNvPr id="3" name="Rectangle: Diagonal Corners Rounded 2">
            <a:extLst>
              <a:ext uri="{FF2B5EF4-FFF2-40B4-BE49-F238E27FC236}">
                <a16:creationId xmlns:a16="http://schemas.microsoft.com/office/drawing/2014/main" id="{87B64F8B-FF8C-3F98-E81E-63F66C3DC224}"/>
              </a:ext>
            </a:extLst>
          </p:cNvPr>
          <p:cNvSpPr/>
          <p:nvPr/>
        </p:nvSpPr>
        <p:spPr>
          <a:xfrm>
            <a:off x="923617" y="2589975"/>
            <a:ext cx="1578634" cy="1340177"/>
          </a:xfrm>
          <a:prstGeom prst="round2Diag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n-US">
              <a:solidFill>
                <a:srgbClr val="000000"/>
              </a:solidFill>
            </a:endParaRPr>
          </a:p>
          <a:p>
            <a:pPr algn="ctr"/>
            <a:r>
              <a:rPr lang="en-US">
                <a:solidFill>
                  <a:srgbClr val="000000"/>
                </a:solidFill>
              </a:rPr>
              <a:t>Woodcare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: Diagonal Corners Rounded 4">
            <a:extLst>
              <a:ext uri="{FF2B5EF4-FFF2-40B4-BE49-F238E27FC236}">
                <a16:creationId xmlns:a16="http://schemas.microsoft.com/office/drawing/2014/main" id="{701A15C1-56B1-57A7-0163-DEA4EE9CA2A4}"/>
              </a:ext>
            </a:extLst>
          </p:cNvPr>
          <p:cNvSpPr/>
          <p:nvPr/>
        </p:nvSpPr>
        <p:spPr>
          <a:xfrm>
            <a:off x="3767504" y="2589974"/>
            <a:ext cx="1578634" cy="1340177"/>
          </a:xfrm>
          <a:prstGeom prst="round2Diag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n-US">
              <a:solidFill>
                <a:srgbClr val="000000"/>
              </a:solidFill>
            </a:endParaRPr>
          </a:p>
          <a:p>
            <a:pPr algn="ctr"/>
            <a:r>
              <a:rPr lang="en-US">
                <a:solidFill>
                  <a:srgbClr val="000000"/>
                </a:solidFill>
              </a:rPr>
              <a:t>Waterproofing</a:t>
            </a:r>
          </a:p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: Diagonal Corners Rounded 5">
            <a:extLst>
              <a:ext uri="{FF2B5EF4-FFF2-40B4-BE49-F238E27FC236}">
                <a16:creationId xmlns:a16="http://schemas.microsoft.com/office/drawing/2014/main" id="{9CBAB5FC-B9EE-2753-E4A7-53C941401EF9}"/>
              </a:ext>
            </a:extLst>
          </p:cNvPr>
          <p:cNvSpPr/>
          <p:nvPr/>
        </p:nvSpPr>
        <p:spPr>
          <a:xfrm>
            <a:off x="6353944" y="2571750"/>
            <a:ext cx="1578634" cy="1340177"/>
          </a:xfrm>
          <a:prstGeom prst="round2Diag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n-US">
              <a:solidFill>
                <a:srgbClr val="000000"/>
              </a:solidFill>
            </a:endParaRPr>
          </a:p>
          <a:p>
            <a:pPr algn="ctr"/>
            <a:r>
              <a:rPr lang="en-US">
                <a:solidFill>
                  <a:srgbClr val="000000"/>
                </a:solidFill>
              </a:rPr>
              <a:t>Pre Deco</a:t>
            </a:r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1958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aint roller and paint tray on the floor&#10;&#10;Description automatically generated">
            <a:extLst>
              <a:ext uri="{FF2B5EF4-FFF2-40B4-BE49-F238E27FC236}">
                <a16:creationId xmlns:a16="http://schemas.microsoft.com/office/drawing/2014/main" id="{4D8F4DFD-5209-E419-7B13-ADD31D0EDF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5288" y="-2215"/>
            <a:ext cx="9191444" cy="5147929"/>
          </a:xfrm>
          <a:prstGeom prst="rect">
            <a:avLst/>
          </a:prstGeom>
        </p:spPr>
      </p:pic>
      <p:sp>
        <p:nvSpPr>
          <p:cNvPr id="3" name="Title 7">
            <a:extLst>
              <a:ext uri="{FF2B5EF4-FFF2-40B4-BE49-F238E27FC236}">
                <a16:creationId xmlns:a16="http://schemas.microsoft.com/office/drawing/2014/main" id="{3779FC22-CA10-9EDC-B40F-3078DA5B1C9A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>
                <a:latin typeface="Colour Sans" panose="02000503030000020004" pitchFamily="2" charset="0"/>
              </a:rPr>
              <a:t>Benefits</a:t>
            </a:r>
          </a:p>
        </p:txBody>
      </p:sp>
      <p:sp>
        <p:nvSpPr>
          <p:cNvPr id="4" name="Speech Bubble: Rectangle with Corners Rounded 3">
            <a:extLst>
              <a:ext uri="{FF2B5EF4-FFF2-40B4-BE49-F238E27FC236}">
                <a16:creationId xmlns:a16="http://schemas.microsoft.com/office/drawing/2014/main" id="{FD70EE00-304F-FC23-ED5C-E102D599F9B1}"/>
              </a:ext>
            </a:extLst>
          </p:cNvPr>
          <p:cNvSpPr/>
          <p:nvPr/>
        </p:nvSpPr>
        <p:spPr>
          <a:xfrm>
            <a:off x="4999414" y="1049505"/>
            <a:ext cx="2267489" cy="843825"/>
          </a:xfrm>
          <a:prstGeom prst="wedgeRoundRectCallout">
            <a:avLst>
              <a:gd name="adj1" fmla="val 59593"/>
              <a:gd name="adj2" fmla="val 5742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US" sz="1400" b="1" dirty="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 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Dulux </a:t>
            </a:r>
            <a:r>
              <a:rPr lang="en-US" sz="1400" dirty="0" err="1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EasyCare</a:t>
            </a:r>
            <a:r>
              <a:rPr lang="en-US" sz="1400" dirty="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 provides many advantages in response to Farah’s worries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. </a:t>
            </a:r>
            <a:endParaRPr lang="en-US" sz="1400" dirty="0">
              <a:solidFill>
                <a:srgbClr val="FFFFFF"/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6" name="Picture 5" descr="A bucket of paint with a child drawing on it&#10;&#10;Description automatically generated">
            <a:extLst>
              <a:ext uri="{FF2B5EF4-FFF2-40B4-BE49-F238E27FC236}">
                <a16:creationId xmlns:a16="http://schemas.microsoft.com/office/drawing/2014/main" id="{4EE51AF2-4C5B-49DF-5AED-1A521EA4CA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0471" y="2324962"/>
            <a:ext cx="2117128" cy="19335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5CD2114-38DA-71F2-3259-CC99E45662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39304" y="-2216"/>
            <a:ext cx="1604696" cy="5145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1683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aint roller and paint tray on the floor&#10;&#10;Description automatically generated">
            <a:extLst>
              <a:ext uri="{FF2B5EF4-FFF2-40B4-BE49-F238E27FC236}">
                <a16:creationId xmlns:a16="http://schemas.microsoft.com/office/drawing/2014/main" id="{A5769C38-2723-A309-A5E5-EB93B9950D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5288" y="-2215"/>
            <a:ext cx="9191444" cy="5147929"/>
          </a:xfrm>
          <a:prstGeom prst="rect">
            <a:avLst/>
          </a:prstGeom>
        </p:spPr>
      </p:pic>
      <p:sp>
        <p:nvSpPr>
          <p:cNvPr id="3" name="Title 7">
            <a:extLst>
              <a:ext uri="{FF2B5EF4-FFF2-40B4-BE49-F238E27FC236}">
                <a16:creationId xmlns:a16="http://schemas.microsoft.com/office/drawing/2014/main" id="{D94FA651-82DF-46FB-528B-9F399582145F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>
                <a:latin typeface="Colour Sans" panose="02000503030000020004" pitchFamily="2" charset="0"/>
              </a:rPr>
              <a:t>Benefits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B13EE3C0-9FFA-EEB6-6EDC-59B80ADFE218}"/>
              </a:ext>
            </a:extLst>
          </p:cNvPr>
          <p:cNvSpPr/>
          <p:nvPr/>
        </p:nvSpPr>
        <p:spPr>
          <a:xfrm>
            <a:off x="153353" y="1842887"/>
            <a:ext cx="2053711" cy="382181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US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Germ Protection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 </a:t>
            </a:r>
            <a:endParaRPr lang="en-GB" err="1">
              <a:latin typeface="Arial"/>
              <a:ea typeface="Calibri"/>
              <a:cs typeface="Arial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1CE45CD-560C-606C-5C0F-78449E75651A}"/>
              </a:ext>
            </a:extLst>
          </p:cNvPr>
          <p:cNvSpPr/>
          <p:nvPr/>
        </p:nvSpPr>
        <p:spPr>
          <a:xfrm>
            <a:off x="2423532" y="1314937"/>
            <a:ext cx="1701286" cy="62030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Anti-Mould and Anti-Fungus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90A75EB-13A1-7DA8-B80A-77F06598081F}"/>
              </a:ext>
            </a:extLst>
          </p:cNvPr>
          <p:cNvSpPr/>
          <p:nvPr/>
        </p:nvSpPr>
        <p:spPr>
          <a:xfrm>
            <a:off x="4332715" y="818953"/>
            <a:ext cx="2064570" cy="37347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Low </a:t>
            </a:r>
            <a:r>
              <a:rPr lang="en-US" err="1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Odour</a:t>
            </a:r>
            <a:r>
              <a:rPr lang="en-US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/ VOC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C74519B-1BD6-74FC-3519-B2041ADA1CA5}"/>
              </a:ext>
            </a:extLst>
          </p:cNvPr>
          <p:cNvSpPr/>
          <p:nvPr/>
        </p:nvSpPr>
        <p:spPr>
          <a:xfrm>
            <a:off x="1009291" y="1319841"/>
            <a:ext cx="345057" cy="34505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US"/>
              <a:t>1</a:t>
            </a:r>
            <a:endParaRPr lang="en-GB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C172428-AA49-0473-63FA-F3480346D02C}"/>
              </a:ext>
            </a:extLst>
          </p:cNvPr>
          <p:cNvSpPr/>
          <p:nvPr/>
        </p:nvSpPr>
        <p:spPr>
          <a:xfrm>
            <a:off x="2793702" y="811191"/>
            <a:ext cx="345057" cy="34505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US"/>
              <a:t>2</a:t>
            </a:r>
            <a:endParaRPr lang="en-GB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B0106B6-A6EA-3BAD-1F8F-F3D32C929905}"/>
              </a:ext>
            </a:extLst>
          </p:cNvPr>
          <p:cNvSpPr/>
          <p:nvPr/>
        </p:nvSpPr>
        <p:spPr>
          <a:xfrm>
            <a:off x="5020596" y="472116"/>
            <a:ext cx="345057" cy="34505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US"/>
              <a:t>3</a:t>
            </a:r>
            <a:endParaRPr lang="en-GB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423E40A-44F0-6F59-5EA1-371DCDBB0AF9}"/>
              </a:ext>
            </a:extLst>
          </p:cNvPr>
          <p:cNvSpPr/>
          <p:nvPr/>
        </p:nvSpPr>
        <p:spPr>
          <a:xfrm>
            <a:off x="7554245" y="815015"/>
            <a:ext cx="345057" cy="34505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US">
                <a:cs typeface="Arial"/>
              </a:rPr>
              <a:t>4</a:t>
            </a:r>
          </a:p>
        </p:txBody>
      </p:sp>
      <p:pic>
        <p:nvPicPr>
          <p:cNvPr id="11" name="Picture 10" descr="A round white button with green and blue text&#10;&#10;Description automatically generated">
            <a:extLst>
              <a:ext uri="{FF2B5EF4-FFF2-40B4-BE49-F238E27FC236}">
                <a16:creationId xmlns:a16="http://schemas.microsoft.com/office/drawing/2014/main" id="{2AA7BAEC-BFAD-93E4-8B96-A5F6ADBFD9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33663" y="428625"/>
            <a:ext cx="800100" cy="781050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38CDAA9-A218-0872-6258-00A3CA571D01}"/>
              </a:ext>
            </a:extLst>
          </p:cNvPr>
          <p:cNvSpPr/>
          <p:nvPr/>
        </p:nvSpPr>
        <p:spPr>
          <a:xfrm>
            <a:off x="6761590" y="1304728"/>
            <a:ext cx="2102670" cy="63064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Anti-Viral Silver Ion Technology</a:t>
            </a:r>
          </a:p>
        </p:txBody>
      </p:sp>
      <p:pic>
        <p:nvPicPr>
          <p:cNvPr id="13" name="Picture 12" descr="A blue and gold logo with a symbol&#10;&#10;Description automatically generated">
            <a:extLst>
              <a:ext uri="{FF2B5EF4-FFF2-40B4-BE49-F238E27FC236}">
                <a16:creationId xmlns:a16="http://schemas.microsoft.com/office/drawing/2014/main" id="{99971406-02F0-D3C6-0A4D-E34FAAC5A2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62750" y="265213"/>
            <a:ext cx="1981200" cy="1107873"/>
          </a:xfrm>
          <a:prstGeom prst="rect">
            <a:avLst/>
          </a:prstGeom>
        </p:spPr>
      </p:pic>
      <p:pic>
        <p:nvPicPr>
          <p:cNvPr id="14" name="Picture 13" descr="A shield with a check mark and a green tick on it&#10;&#10;Description automatically generated">
            <a:extLst>
              <a:ext uri="{FF2B5EF4-FFF2-40B4-BE49-F238E27FC236}">
                <a16:creationId xmlns:a16="http://schemas.microsoft.com/office/drawing/2014/main" id="{29B7C55B-022D-EE97-7253-998DF3161C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7250" y="1152525"/>
            <a:ext cx="647700" cy="685800"/>
          </a:xfrm>
          <a:prstGeom prst="rect">
            <a:avLst/>
          </a:prstGeom>
        </p:spPr>
      </p:pic>
      <p:pic>
        <p:nvPicPr>
          <p:cNvPr id="15" name="Picture 14" descr="A blue circle with white text and orange circle with white text&#10;&#10;Description automatically generated">
            <a:extLst>
              <a:ext uri="{FF2B5EF4-FFF2-40B4-BE49-F238E27FC236}">
                <a16:creationId xmlns:a16="http://schemas.microsoft.com/office/drawing/2014/main" id="{072BB143-8B20-1645-BD90-EF9F34128F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1075" y="47625"/>
            <a:ext cx="800100" cy="77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2918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E2A8B70-96C1-B269-CE76-BF65639128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4"/>
            <a:ext cx="9144000" cy="5140372"/>
          </a:xfrm>
          <a:prstGeom prst="rect">
            <a:avLst/>
          </a:prstGeom>
        </p:spPr>
      </p:pic>
      <p:sp>
        <p:nvSpPr>
          <p:cNvPr id="3" name="Title 7">
            <a:extLst>
              <a:ext uri="{FF2B5EF4-FFF2-40B4-BE49-F238E27FC236}">
                <a16:creationId xmlns:a16="http://schemas.microsoft.com/office/drawing/2014/main" id="{6E74AB12-4601-D901-D0AA-498185319035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>
                <a:solidFill>
                  <a:srgbClr val="FFFFFF"/>
                </a:solidFill>
                <a:latin typeface="Colour Sans" panose="02000503030000020004" pitchFamily="2" charset="0"/>
              </a:rPr>
              <a:t>Features</a:t>
            </a:r>
          </a:p>
        </p:txBody>
      </p:sp>
      <p:sp>
        <p:nvSpPr>
          <p:cNvPr id="4" name="Speech Bubble: Rectangle with Corners Rounded 3">
            <a:extLst>
              <a:ext uri="{FF2B5EF4-FFF2-40B4-BE49-F238E27FC236}">
                <a16:creationId xmlns:a16="http://schemas.microsoft.com/office/drawing/2014/main" id="{F86CB2E6-0FEB-7EB0-4A8C-E8FBD1A0F7AD}"/>
              </a:ext>
            </a:extLst>
          </p:cNvPr>
          <p:cNvSpPr/>
          <p:nvPr/>
        </p:nvSpPr>
        <p:spPr>
          <a:xfrm>
            <a:off x="3932768" y="1154856"/>
            <a:ext cx="2962815" cy="990959"/>
          </a:xfrm>
          <a:prstGeom prst="wedgeRoundRectCallout">
            <a:avLst>
              <a:gd name="adj1" fmla="val 59593"/>
              <a:gd name="adj2" fmla="val 5742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4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w, let's explore the exceptional features that make the Dulux </a:t>
            </a:r>
            <a:r>
              <a:rPr lang="en-GB" sz="1400" kern="10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asyCare</a:t>
            </a:r>
            <a:r>
              <a:rPr lang="en-GB" sz="14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tand out.</a:t>
            </a:r>
            <a:endParaRPr lang="en-US" sz="14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Picture 5" descr="A bucket of paint with a child drawing on it&#10;&#10;Description automatically generated">
            <a:extLst>
              <a:ext uri="{FF2B5EF4-FFF2-40B4-BE49-F238E27FC236}">
                <a16:creationId xmlns:a16="http://schemas.microsoft.com/office/drawing/2014/main" id="{7FC5D626-B664-E19C-24A1-2D313B461A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0471" y="2324962"/>
            <a:ext cx="2117128" cy="19335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AE73520-5E9B-6408-7381-1BC2BB101D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39304" y="-2216"/>
            <a:ext cx="1604696" cy="5145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0094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ed with a white sheet and a blue wall&#10;&#10;Description automatically generated">
            <a:extLst>
              <a:ext uri="{FF2B5EF4-FFF2-40B4-BE49-F238E27FC236}">
                <a16:creationId xmlns:a16="http://schemas.microsoft.com/office/drawing/2014/main" id="{16F3193D-B535-8741-C847-9657B6FF61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4"/>
            <a:ext cx="9144000" cy="5140372"/>
          </a:xfrm>
          <a:prstGeom prst="rect">
            <a:avLst/>
          </a:prstGeom>
        </p:spPr>
      </p:pic>
      <p:sp>
        <p:nvSpPr>
          <p:cNvPr id="3" name="Title 7">
            <a:extLst>
              <a:ext uri="{FF2B5EF4-FFF2-40B4-BE49-F238E27FC236}">
                <a16:creationId xmlns:a16="http://schemas.microsoft.com/office/drawing/2014/main" id="{EDE7FB05-5CE8-68EE-7C10-4C15B7727D0C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Featur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D012CF0-04A8-5E54-051B-30130BC11616}"/>
              </a:ext>
            </a:extLst>
          </p:cNvPr>
          <p:cNvSpPr txBox="1"/>
          <p:nvPr/>
        </p:nvSpPr>
        <p:spPr>
          <a:xfrm>
            <a:off x="2647025" y="4098817"/>
            <a:ext cx="5978294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i="1">
                <a:solidFill>
                  <a:srgbClr val="FFFFFF"/>
                </a:solidFill>
                <a:cs typeface="Arial"/>
              </a:rPr>
              <a:t>Click on each icon to learn more.</a:t>
            </a:r>
            <a:endParaRPr lang="en-US" sz="1400" b="1" i="1">
              <a:solidFill>
                <a:srgbClr val="FFFFFF"/>
              </a:solidFill>
            </a:endParaRPr>
          </a:p>
        </p:txBody>
      </p:sp>
      <p:pic>
        <p:nvPicPr>
          <p:cNvPr id="5" name="Picture 4" descr="A paint roller with orange paint&#10;&#10;Description automatically generated">
            <a:extLst>
              <a:ext uri="{FF2B5EF4-FFF2-40B4-BE49-F238E27FC236}">
                <a16:creationId xmlns:a16="http://schemas.microsoft.com/office/drawing/2014/main" id="{F1392448-36E5-6524-19E8-3259713AC9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6304" y="939855"/>
            <a:ext cx="741308" cy="74130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A3D6497-E151-C693-0A79-B16E3E4109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87314" y="981075"/>
            <a:ext cx="706821" cy="706821"/>
          </a:xfrm>
          <a:prstGeom prst="rect">
            <a:avLst/>
          </a:prstGeom>
        </p:spPr>
      </p:pic>
      <p:pic>
        <p:nvPicPr>
          <p:cNvPr id="7" name="Picture 6" descr="A blue and white circles&#10;&#10;Description automatically generated">
            <a:extLst>
              <a:ext uri="{FF2B5EF4-FFF2-40B4-BE49-F238E27FC236}">
                <a16:creationId xmlns:a16="http://schemas.microsoft.com/office/drawing/2014/main" id="{F9DFA6D0-7141-15D4-DEF0-D81E1443BB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08674" y="944781"/>
            <a:ext cx="738681" cy="738681"/>
          </a:xfrm>
          <a:prstGeom prst="rect">
            <a:avLst/>
          </a:prstGeom>
        </p:spPr>
      </p:pic>
      <p:pic>
        <p:nvPicPr>
          <p:cNvPr id="8" name="Picture 7" descr="A colorful circle with a black background&#10;&#10;Description automatically generated">
            <a:extLst>
              <a:ext uri="{FF2B5EF4-FFF2-40B4-BE49-F238E27FC236}">
                <a16:creationId xmlns:a16="http://schemas.microsoft.com/office/drawing/2014/main" id="{0836EE10-449A-79DF-196E-44DD9FD1D9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75903" y="881720"/>
            <a:ext cx="778751" cy="778751"/>
          </a:xfrm>
          <a:prstGeom prst="rect">
            <a:avLst/>
          </a:prstGeom>
        </p:spPr>
      </p:pic>
      <p:pic>
        <p:nvPicPr>
          <p:cNvPr id="9" name="Picture 8" descr="A hand with a sponge and stars&#10;&#10;Description automatically generated">
            <a:extLst>
              <a:ext uri="{FF2B5EF4-FFF2-40B4-BE49-F238E27FC236}">
                <a16:creationId xmlns:a16="http://schemas.microsoft.com/office/drawing/2014/main" id="{BBDD2502-37F6-DA5A-768D-364BA052CAF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19660" y="944781"/>
            <a:ext cx="672334" cy="682188"/>
          </a:xfrm>
          <a:prstGeom prst="rect">
            <a:avLst/>
          </a:prstGeom>
        </p:spPr>
      </p:pic>
      <p:pic>
        <p:nvPicPr>
          <p:cNvPr id="10" name="Picture 9" descr="A paint brush with a pink paint dripping&#10;&#10;Description automatically generated">
            <a:extLst>
              <a:ext uri="{FF2B5EF4-FFF2-40B4-BE49-F238E27FC236}">
                <a16:creationId xmlns:a16="http://schemas.microsoft.com/office/drawing/2014/main" id="{A153B803-9D4F-A29A-3E1C-68765F80AC6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3812" y="3285797"/>
            <a:ext cx="640146" cy="630621"/>
          </a:xfrm>
          <a:prstGeom prst="rect">
            <a:avLst/>
          </a:prstGeom>
        </p:spPr>
      </p:pic>
      <p:pic>
        <p:nvPicPr>
          <p:cNvPr id="11" name="Picture 10" descr="A black and white logo&#10;&#10;Description automatically generated">
            <a:extLst>
              <a:ext uri="{FF2B5EF4-FFF2-40B4-BE49-F238E27FC236}">
                <a16:creationId xmlns:a16="http://schemas.microsoft.com/office/drawing/2014/main" id="{D0FEE2CF-49B6-C89A-4ED8-E0BF5B2B99D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857828" y="3286289"/>
            <a:ext cx="546538" cy="62241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76C1FD99-E70B-C647-277F-D360FB7B25C7}"/>
              </a:ext>
            </a:extLst>
          </p:cNvPr>
          <p:cNvGrpSpPr/>
          <p:nvPr/>
        </p:nvGrpSpPr>
        <p:grpSpPr>
          <a:xfrm>
            <a:off x="5011790" y="2853886"/>
            <a:ext cx="1265842" cy="1167306"/>
            <a:chOff x="4236981" y="2689991"/>
            <a:chExt cx="1265842" cy="1167306"/>
          </a:xfrm>
        </p:grpSpPr>
        <p:pic>
          <p:nvPicPr>
            <p:cNvPr id="13" name="Picture 12" descr="A yellow bucket with red paint&#10;&#10;Description automatically generated">
              <a:extLst>
                <a:ext uri="{FF2B5EF4-FFF2-40B4-BE49-F238E27FC236}">
                  <a16:creationId xmlns:a16="http://schemas.microsoft.com/office/drawing/2014/main" id="{E4F4D167-2AD0-B098-08FC-90128B630B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833116" y="3187590"/>
              <a:ext cx="669707" cy="669707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F219573-029F-7426-CBDD-CB8D0BBC59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325664" y="2808233"/>
              <a:ext cx="360637" cy="360637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7069656C-6A36-4763-F301-6207D251E3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236981" y="3231931"/>
              <a:ext cx="537999" cy="557705"/>
            </a:xfrm>
            <a:prstGeom prst="rect">
              <a:avLst/>
            </a:prstGeom>
          </p:spPr>
        </p:pic>
        <p:pic>
          <p:nvPicPr>
            <p:cNvPr id="16" name="Picture 15" descr="A yellow paint can with red paint on it&#10;&#10;Description automatically generated">
              <a:extLst>
                <a:ext uri="{FF2B5EF4-FFF2-40B4-BE49-F238E27FC236}">
                  <a16:creationId xmlns:a16="http://schemas.microsoft.com/office/drawing/2014/main" id="{707AF3B8-CFF7-F36D-4A56-6060555623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759213" y="2689991"/>
              <a:ext cx="459172" cy="478878"/>
            </a:xfrm>
            <a:prstGeom prst="rect">
              <a:avLst/>
            </a:prstGeom>
          </p:spPr>
        </p:pic>
      </p:grpSp>
      <p:pic>
        <p:nvPicPr>
          <p:cNvPr id="17" name="Picture 16" descr="A clock with arrows pointing to the left&#10;&#10;Description automatically generated">
            <a:extLst>
              <a:ext uri="{FF2B5EF4-FFF2-40B4-BE49-F238E27FC236}">
                <a16:creationId xmlns:a16="http://schemas.microsoft.com/office/drawing/2014/main" id="{791637D0-29B3-32AC-FD81-FD5363CEE8C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253616" y="2967366"/>
            <a:ext cx="942975" cy="942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81767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ed with a white sheet and a blue wall&#10;&#10;Description automatically generated">
            <a:extLst>
              <a:ext uri="{FF2B5EF4-FFF2-40B4-BE49-F238E27FC236}">
                <a16:creationId xmlns:a16="http://schemas.microsoft.com/office/drawing/2014/main" id="{DF86B007-218D-EC58-7F29-E00A3F1DFC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4"/>
            <a:ext cx="9144000" cy="5140372"/>
          </a:xfrm>
          <a:prstGeom prst="rect">
            <a:avLst/>
          </a:prstGeom>
        </p:spPr>
      </p:pic>
      <p:sp>
        <p:nvSpPr>
          <p:cNvPr id="3" name="Title 7">
            <a:extLst>
              <a:ext uri="{FF2B5EF4-FFF2-40B4-BE49-F238E27FC236}">
                <a16:creationId xmlns:a16="http://schemas.microsoft.com/office/drawing/2014/main" id="{8434520C-B20A-EBE8-5BFB-39A6706702FD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>
                <a:solidFill>
                  <a:schemeClr val="bg1"/>
                </a:solidFill>
                <a:latin typeface="Colour Sans"/>
              </a:rPr>
              <a:t>Features</a:t>
            </a:r>
          </a:p>
        </p:txBody>
      </p:sp>
      <p:pic>
        <p:nvPicPr>
          <p:cNvPr id="4" name="Picture 3" descr="A paint roller with orange paint&#10;&#10;Description automatically generated">
            <a:extLst>
              <a:ext uri="{FF2B5EF4-FFF2-40B4-BE49-F238E27FC236}">
                <a16:creationId xmlns:a16="http://schemas.microsoft.com/office/drawing/2014/main" id="{88C712E5-CE3F-0CFD-8668-20DFF42DB2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6304" y="939855"/>
            <a:ext cx="741308" cy="74130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EAA70C8-E134-53F3-BABB-CB78FC1A58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87314" y="981075"/>
            <a:ext cx="706821" cy="706821"/>
          </a:xfrm>
          <a:prstGeom prst="rect">
            <a:avLst/>
          </a:prstGeom>
        </p:spPr>
      </p:pic>
      <p:pic>
        <p:nvPicPr>
          <p:cNvPr id="6" name="Picture 5" descr="A blue and white circles&#10;&#10;Description automatically generated">
            <a:extLst>
              <a:ext uri="{FF2B5EF4-FFF2-40B4-BE49-F238E27FC236}">
                <a16:creationId xmlns:a16="http://schemas.microsoft.com/office/drawing/2014/main" id="{6FC47A13-2BDC-6F65-BE58-DE4C0EB3F4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08674" y="944781"/>
            <a:ext cx="738681" cy="738681"/>
          </a:xfrm>
          <a:prstGeom prst="rect">
            <a:avLst/>
          </a:prstGeom>
        </p:spPr>
      </p:pic>
      <p:pic>
        <p:nvPicPr>
          <p:cNvPr id="7" name="Picture 6" descr="A colorful circle with a black background&#10;&#10;Description automatically generated">
            <a:extLst>
              <a:ext uri="{FF2B5EF4-FFF2-40B4-BE49-F238E27FC236}">
                <a16:creationId xmlns:a16="http://schemas.microsoft.com/office/drawing/2014/main" id="{782E87FA-EC6D-84A0-4C7C-DF5AE05F5F5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75903" y="881720"/>
            <a:ext cx="778751" cy="778751"/>
          </a:xfrm>
          <a:prstGeom prst="rect">
            <a:avLst/>
          </a:prstGeom>
        </p:spPr>
      </p:pic>
      <p:pic>
        <p:nvPicPr>
          <p:cNvPr id="8" name="Picture 7" descr="A hand with a sponge and stars&#10;&#10;Description automatically generated">
            <a:extLst>
              <a:ext uri="{FF2B5EF4-FFF2-40B4-BE49-F238E27FC236}">
                <a16:creationId xmlns:a16="http://schemas.microsoft.com/office/drawing/2014/main" id="{87E61727-1A1E-12BE-BC0E-F29C252B10F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19660" y="944781"/>
            <a:ext cx="672334" cy="682188"/>
          </a:xfrm>
          <a:prstGeom prst="rect">
            <a:avLst/>
          </a:prstGeom>
        </p:spPr>
      </p:pic>
      <p:pic>
        <p:nvPicPr>
          <p:cNvPr id="9" name="Picture 8" descr="A paint brush with a pink paint dripping&#10;&#10;Description automatically generated">
            <a:extLst>
              <a:ext uri="{FF2B5EF4-FFF2-40B4-BE49-F238E27FC236}">
                <a16:creationId xmlns:a16="http://schemas.microsoft.com/office/drawing/2014/main" id="{FE373CD1-4DB8-29E6-0A64-0A28892B888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3812" y="3285797"/>
            <a:ext cx="640146" cy="630621"/>
          </a:xfrm>
          <a:prstGeom prst="rect">
            <a:avLst/>
          </a:prstGeom>
        </p:spPr>
      </p:pic>
      <p:pic>
        <p:nvPicPr>
          <p:cNvPr id="10" name="Picture 9" descr="A black and white logo&#10;&#10;Description automatically generated">
            <a:extLst>
              <a:ext uri="{FF2B5EF4-FFF2-40B4-BE49-F238E27FC236}">
                <a16:creationId xmlns:a16="http://schemas.microsoft.com/office/drawing/2014/main" id="{69D4C91B-6853-5393-57F3-7222D22BD96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857828" y="3286289"/>
            <a:ext cx="546538" cy="622410"/>
          </a:xfrm>
          <a:prstGeom prst="rect">
            <a:avLst/>
          </a:prstGeom>
        </p:spPr>
      </p:pic>
      <p:pic>
        <p:nvPicPr>
          <p:cNvPr id="12" name="Picture 11" descr="A yellow bucket with red paint&#10;&#10;Description automatically generated">
            <a:extLst>
              <a:ext uri="{FF2B5EF4-FFF2-40B4-BE49-F238E27FC236}">
                <a16:creationId xmlns:a16="http://schemas.microsoft.com/office/drawing/2014/main" id="{83A75056-DAE2-962B-BF8B-11894CB3869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607925" y="3351485"/>
            <a:ext cx="669707" cy="66970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009B6E-D895-EEDB-B4F8-571752C3FAA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011790" y="3395826"/>
            <a:ext cx="537999" cy="557705"/>
          </a:xfrm>
          <a:prstGeom prst="rect">
            <a:avLst/>
          </a:prstGeom>
        </p:spPr>
      </p:pic>
      <p:pic>
        <p:nvPicPr>
          <p:cNvPr id="15" name="Picture 14" descr="A yellow paint can with red paint on it&#10;&#10;Description automatically generated">
            <a:extLst>
              <a:ext uri="{FF2B5EF4-FFF2-40B4-BE49-F238E27FC236}">
                <a16:creationId xmlns:a16="http://schemas.microsoft.com/office/drawing/2014/main" id="{E2C69D32-DCFA-E22B-CF93-23A419FCFF8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534022" y="2853886"/>
            <a:ext cx="459172" cy="478878"/>
          </a:xfrm>
          <a:prstGeom prst="rect">
            <a:avLst/>
          </a:prstGeom>
        </p:spPr>
      </p:pic>
      <p:pic>
        <p:nvPicPr>
          <p:cNvPr id="16" name="Picture 15" descr="A clock with arrows pointing to the left&#10;&#10;Description automatically generated">
            <a:extLst>
              <a:ext uri="{FF2B5EF4-FFF2-40B4-BE49-F238E27FC236}">
                <a16:creationId xmlns:a16="http://schemas.microsoft.com/office/drawing/2014/main" id="{07AB6212-BAE9-E3CF-5B4A-FCBD40CBB11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253616" y="2967366"/>
            <a:ext cx="942975" cy="942975"/>
          </a:xfrm>
          <a:prstGeom prst="rect">
            <a:avLst/>
          </a:prstGeom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D43577E-5A29-D973-B6B1-F052F06BCD40}"/>
              </a:ext>
            </a:extLst>
          </p:cNvPr>
          <p:cNvSpPr/>
          <p:nvPr/>
        </p:nvSpPr>
        <p:spPr>
          <a:xfrm>
            <a:off x="172119" y="1800874"/>
            <a:ext cx="1145128" cy="29218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mooth Finish</a:t>
            </a:r>
            <a:endParaRPr lang="en-GB" sz="14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2D8CFD1E-CFF8-498D-3510-BC016C820859}"/>
              </a:ext>
            </a:extLst>
          </p:cNvPr>
          <p:cNvSpPr/>
          <p:nvPr/>
        </p:nvSpPr>
        <p:spPr>
          <a:xfrm>
            <a:off x="1903985" y="1800263"/>
            <a:ext cx="1134720" cy="50023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3-15 m</a:t>
            </a:r>
            <a:r>
              <a:rPr lang="en-US" sz="1400" baseline="30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L  Coverage</a:t>
            </a:r>
            <a:endParaRPr lang="en-GB" sz="14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33908ABB-AFB8-5B40-7F34-B028425033B9}"/>
              </a:ext>
            </a:extLst>
          </p:cNvPr>
          <p:cNvSpPr/>
          <p:nvPr/>
        </p:nvSpPr>
        <p:spPr>
          <a:xfrm>
            <a:off x="4904501" y="4115867"/>
            <a:ext cx="1672229" cy="41161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L, 4 L, and 16 L Available Sizes</a:t>
            </a:r>
            <a:endParaRPr lang="en-GB" sz="14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D8724BD1-E980-C54E-92A9-7A96526E4CB7}"/>
              </a:ext>
            </a:extLst>
          </p:cNvPr>
          <p:cNvSpPr/>
          <p:nvPr/>
        </p:nvSpPr>
        <p:spPr>
          <a:xfrm>
            <a:off x="7216963" y="4059960"/>
            <a:ext cx="1079055" cy="47184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ng-Lasting Durability</a:t>
            </a:r>
            <a:endParaRPr lang="en-GB" sz="140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15C700FC-1B8A-30CA-9E48-BCFFEB9B982F}"/>
              </a:ext>
            </a:extLst>
          </p:cNvPr>
          <p:cNvSpPr/>
          <p:nvPr/>
        </p:nvSpPr>
        <p:spPr>
          <a:xfrm>
            <a:off x="3548922" y="1872105"/>
            <a:ext cx="1150712" cy="37396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gh Opacity</a:t>
            </a:r>
            <a:endParaRPr lang="en-GB" sz="140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421FE125-FAFF-3D47-A6D3-6141744BC240}"/>
              </a:ext>
            </a:extLst>
          </p:cNvPr>
          <p:cNvSpPr/>
          <p:nvPr/>
        </p:nvSpPr>
        <p:spPr>
          <a:xfrm>
            <a:off x="5190419" y="1867284"/>
            <a:ext cx="1386438" cy="42893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2077 Colour Availability</a:t>
            </a:r>
            <a:endParaRPr lang="en-GB" sz="14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DF7A05B-E5E5-56BB-FB75-01D63B1BC2E3}"/>
              </a:ext>
            </a:extLst>
          </p:cNvPr>
          <p:cNvSpPr/>
          <p:nvPr/>
        </p:nvSpPr>
        <p:spPr>
          <a:xfrm>
            <a:off x="7249478" y="1868511"/>
            <a:ext cx="1103340" cy="43209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Best-in-class</a:t>
            </a:r>
          </a:p>
          <a:p>
            <a:pPr algn="ctr"/>
            <a:r>
              <a:rPr lang="en-US" sz="1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Washability</a:t>
            </a:r>
            <a:endParaRPr lang="en-GB" sz="14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07C2FFF-73E8-403F-23B5-B53FAC97469A}"/>
              </a:ext>
            </a:extLst>
          </p:cNvPr>
          <p:cNvSpPr/>
          <p:nvPr/>
        </p:nvSpPr>
        <p:spPr>
          <a:xfrm>
            <a:off x="430435" y="4031028"/>
            <a:ext cx="1204244" cy="49791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Superior </a:t>
            </a:r>
            <a:r>
              <a:rPr lang="en-US" sz="1400" err="1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Colour</a:t>
            </a:r>
            <a:r>
              <a:rPr lang="en-US" sz="1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 Fastness</a:t>
            </a:r>
            <a:endParaRPr lang="en-GB" sz="1400" err="1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B1A6F52A-1F39-B306-384C-B13129ED9D3F}"/>
              </a:ext>
            </a:extLst>
          </p:cNvPr>
          <p:cNvSpPr/>
          <p:nvPr/>
        </p:nvSpPr>
        <p:spPr>
          <a:xfrm>
            <a:off x="2431732" y="4057208"/>
            <a:ext cx="1598037" cy="521441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Superior Mould and Fungus Protection</a:t>
            </a:r>
            <a:endParaRPr lang="en-GB" sz="1400" err="1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957486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bathroom with a shower and bathtub&#10;&#10;Description automatically generated">
            <a:extLst>
              <a:ext uri="{FF2B5EF4-FFF2-40B4-BE49-F238E27FC236}">
                <a16:creationId xmlns:a16="http://schemas.microsoft.com/office/drawing/2014/main" id="{BC3DF74D-0DFF-BF0E-19E2-2B1B674579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143"/>
            <a:ext cx="9144000" cy="5145786"/>
          </a:xfrm>
          <a:prstGeom prst="rect">
            <a:avLst/>
          </a:prstGeom>
        </p:spPr>
      </p:pic>
      <p:sp>
        <p:nvSpPr>
          <p:cNvPr id="28" name="Title 7">
            <a:extLst>
              <a:ext uri="{FF2B5EF4-FFF2-40B4-BE49-F238E27FC236}">
                <a16:creationId xmlns:a16="http://schemas.microsoft.com/office/drawing/2014/main" id="{188DC9A9-6387-6DBE-89E7-455243101765}"/>
              </a:ext>
            </a:extLst>
          </p:cNvPr>
          <p:cNvSpPr txBox="1">
            <a:spLocks/>
          </p:cNvSpPr>
          <p:nvPr/>
        </p:nvSpPr>
        <p:spPr>
          <a:xfrm>
            <a:off x="773630" y="14146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>
                <a:solidFill>
                  <a:srgbClr val="FFFFFF"/>
                </a:solidFill>
                <a:latin typeface="Colour Sans" panose="02000503030000020004" pitchFamily="2" charset="0"/>
              </a:rPr>
              <a:t>Result</a:t>
            </a:r>
          </a:p>
        </p:txBody>
      </p:sp>
      <p:pic>
        <p:nvPicPr>
          <p:cNvPr id="31" name="Picture 30" descr="A bucket of paint with a child drawing on it&#10;&#10;Description automatically generated">
            <a:extLst>
              <a:ext uri="{FF2B5EF4-FFF2-40B4-BE49-F238E27FC236}">
                <a16:creationId xmlns:a16="http://schemas.microsoft.com/office/drawing/2014/main" id="{7D829106-5759-5F8F-7BE2-7FB4B10177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80803" y="2510590"/>
            <a:ext cx="2412915" cy="217571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AF66CE48-A5AD-8CCF-DE9C-CFCD6F81F3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40751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Diagonal Corners Rounded 8" descr="Yellow paint applied with a paint roller on a grey surface">
            <a:extLst>
              <a:ext uri="{FF2B5EF4-FFF2-40B4-BE49-F238E27FC236}">
                <a16:creationId xmlns:a16="http://schemas.microsoft.com/office/drawing/2014/main" id="{501721C0-0943-9E97-4C77-3631E19D5F0A}"/>
              </a:ext>
            </a:extLst>
          </p:cNvPr>
          <p:cNvSpPr/>
          <p:nvPr/>
        </p:nvSpPr>
        <p:spPr>
          <a:xfrm>
            <a:off x="4473" y="239"/>
            <a:ext cx="9132158" cy="5095861"/>
          </a:xfrm>
          <a:prstGeom prst="round2DiagRect">
            <a:avLst>
              <a:gd name="adj1" fmla="val 0"/>
              <a:gd name="adj2" fmla="val 14184"/>
            </a:avLst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31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SG" dirty="0" err="1"/>
          </a:p>
        </p:txBody>
      </p:sp>
      <p:pic>
        <p:nvPicPr>
          <p:cNvPr id="3" name="Picture 2" descr="A bucket of paint with a picture of a couple of people&#10;&#10;Description automatically generated">
            <a:extLst>
              <a:ext uri="{FF2B5EF4-FFF2-40B4-BE49-F238E27FC236}">
                <a16:creationId xmlns:a16="http://schemas.microsoft.com/office/drawing/2014/main" id="{953057BF-9ADF-D8B9-5318-EB1FC9BB83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31584" y="1703442"/>
            <a:ext cx="3292175" cy="3610609"/>
          </a:xfrm>
          <a:prstGeom prst="rect">
            <a:avLst/>
          </a:prstGeom>
        </p:spPr>
      </p:pic>
      <p:sp>
        <p:nvSpPr>
          <p:cNvPr id="6" name="Title 7">
            <a:extLst>
              <a:ext uri="{FF2B5EF4-FFF2-40B4-BE49-F238E27FC236}">
                <a16:creationId xmlns:a16="http://schemas.microsoft.com/office/drawing/2014/main" id="{0A512F14-22FB-DD1C-616C-0A1E0475A48C}"/>
              </a:ext>
            </a:extLst>
          </p:cNvPr>
          <p:cNvSpPr txBox="1">
            <a:spLocks/>
          </p:cNvSpPr>
          <p:nvPr/>
        </p:nvSpPr>
        <p:spPr>
          <a:xfrm>
            <a:off x="75609" y="142179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sz="3200" dirty="0">
                <a:solidFill>
                  <a:schemeClr val="bg1"/>
                </a:solidFill>
                <a:latin typeface="Colour Sans"/>
              </a:rPr>
              <a:t>Introduction</a:t>
            </a:r>
          </a:p>
        </p:txBody>
      </p:sp>
      <p:pic>
        <p:nvPicPr>
          <p:cNvPr id="7" name="Picture 6" descr="A paint roller with a blue paint roller&#10;&#10;Description automatically generated">
            <a:extLst>
              <a:ext uri="{FF2B5EF4-FFF2-40B4-BE49-F238E27FC236}">
                <a16:creationId xmlns:a16="http://schemas.microsoft.com/office/drawing/2014/main" id="{39C2136C-D9A5-364E-BC7F-D21EE3476C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9252" y="1014413"/>
            <a:ext cx="2173137" cy="1551137"/>
          </a:xfrm>
          <a:prstGeom prst="rect">
            <a:avLst/>
          </a:prstGeom>
        </p:spPr>
      </p:pic>
      <p:pic>
        <p:nvPicPr>
          <p:cNvPr id="8" name="Picture 7" descr="A logo with a rainbow colored circle&#10;&#10;Description automatically generated">
            <a:extLst>
              <a:ext uri="{FF2B5EF4-FFF2-40B4-BE49-F238E27FC236}">
                <a16:creationId xmlns:a16="http://schemas.microsoft.com/office/drawing/2014/main" id="{66FC007C-BBE3-F18D-7CC1-F4281596E6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12343" y="1026184"/>
            <a:ext cx="1950108" cy="1818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5570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Diagonal Corners Rounded 6" descr="Yellow paint applied with a paint roller on a grey surface">
            <a:extLst>
              <a:ext uri="{FF2B5EF4-FFF2-40B4-BE49-F238E27FC236}">
                <a16:creationId xmlns:a16="http://schemas.microsoft.com/office/drawing/2014/main" id="{827506D8-8060-A515-96FB-356724A7EF53}"/>
              </a:ext>
            </a:extLst>
          </p:cNvPr>
          <p:cNvSpPr/>
          <p:nvPr/>
        </p:nvSpPr>
        <p:spPr>
          <a:xfrm>
            <a:off x="4473" y="239"/>
            <a:ext cx="9132158" cy="5095861"/>
          </a:xfrm>
          <a:prstGeom prst="round2DiagRect">
            <a:avLst>
              <a:gd name="adj1" fmla="val 0"/>
              <a:gd name="adj2" fmla="val 14184"/>
            </a:avLst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31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SG" dirty="0" err="1"/>
          </a:p>
        </p:txBody>
      </p:sp>
      <p:pic>
        <p:nvPicPr>
          <p:cNvPr id="3" name="Picture 2" descr="A bucket of paint with a picture of a couple of people&#10;&#10;Description automatically generated">
            <a:extLst>
              <a:ext uri="{FF2B5EF4-FFF2-40B4-BE49-F238E27FC236}">
                <a16:creationId xmlns:a16="http://schemas.microsoft.com/office/drawing/2014/main" id="{EAF95774-6B2F-E71B-7D31-18DE5F6143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7607" y="2307291"/>
            <a:ext cx="1998213" cy="2198034"/>
          </a:xfrm>
          <a:prstGeom prst="rect">
            <a:avLst/>
          </a:prstGeom>
        </p:spPr>
      </p:pic>
      <p:sp>
        <p:nvSpPr>
          <p:cNvPr id="5" name="Speech Bubble: Rectangle with Corners Rounded 4">
            <a:extLst>
              <a:ext uri="{FF2B5EF4-FFF2-40B4-BE49-F238E27FC236}">
                <a16:creationId xmlns:a16="http://schemas.microsoft.com/office/drawing/2014/main" id="{81A97919-FF16-2AA1-41A1-A2BDDC759FAA}"/>
              </a:ext>
            </a:extLst>
          </p:cNvPr>
          <p:cNvSpPr/>
          <p:nvPr/>
        </p:nvSpPr>
        <p:spPr>
          <a:xfrm>
            <a:off x="4999414" y="1049505"/>
            <a:ext cx="2267489" cy="843825"/>
          </a:xfrm>
          <a:prstGeom prst="wedgeRoundRectCallout">
            <a:avLst>
              <a:gd name="adj1" fmla="val 59593"/>
              <a:gd name="adj2" fmla="val 5742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t's delve into how Dulux </a:t>
            </a:r>
            <a:r>
              <a:rPr lang="en-US" sz="1400" kern="10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ntalite</a:t>
            </a:r>
            <a:r>
              <a:rPr lang="en-US" sz="14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lassic can tackle Farah’s upcoming issue.</a:t>
            </a:r>
            <a:endParaRPr lang="en-US" sz="105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28ADB95-9FC7-A3B1-74C6-6918C320D1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39304" y="-2216"/>
            <a:ext cx="1604696" cy="5145715"/>
          </a:xfrm>
          <a:prstGeom prst="rect">
            <a:avLst/>
          </a:prstGeom>
        </p:spPr>
      </p:pic>
      <p:sp>
        <p:nvSpPr>
          <p:cNvPr id="9" name="Title 7">
            <a:extLst>
              <a:ext uri="{FF2B5EF4-FFF2-40B4-BE49-F238E27FC236}">
                <a16:creationId xmlns:a16="http://schemas.microsoft.com/office/drawing/2014/main" id="{624497BC-8DDC-E3E5-E1F0-6B6ECC3206A4}"/>
              </a:ext>
            </a:extLst>
          </p:cNvPr>
          <p:cNvSpPr txBox="1">
            <a:spLocks/>
          </p:cNvSpPr>
          <p:nvPr/>
        </p:nvSpPr>
        <p:spPr>
          <a:xfrm>
            <a:off x="75609" y="142179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sz="3200" dirty="0">
                <a:solidFill>
                  <a:schemeClr val="bg1"/>
                </a:solidFill>
                <a:latin typeface="Colour Sans"/>
              </a:rPr>
              <a:t>Introduction</a:t>
            </a:r>
          </a:p>
        </p:txBody>
      </p:sp>
      <p:pic>
        <p:nvPicPr>
          <p:cNvPr id="11" name="Picture 10" descr="A cartoon of a person wearing a blue jacket&#10;&#10;Description automatically generated">
            <a:extLst>
              <a:ext uri="{FF2B5EF4-FFF2-40B4-BE49-F238E27FC236}">
                <a16:creationId xmlns:a16="http://schemas.microsoft.com/office/drawing/2014/main" id="{BE37412A-14BB-00BC-85A7-782D62B3CF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pic>
        <p:nvPicPr>
          <p:cNvPr id="13" name="Picture 12" descr="A red puzzle piece on a black background&#10;&#10;Description automatically generated">
            <a:extLst>
              <a:ext uri="{FF2B5EF4-FFF2-40B4-BE49-F238E27FC236}">
                <a16:creationId xmlns:a16="http://schemas.microsoft.com/office/drawing/2014/main" id="{289A2F85-540B-A51C-ECA8-CD6B700863B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0068858">
            <a:off x="970538" y="1558749"/>
            <a:ext cx="564700" cy="5647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1DD17DFE-3144-598D-56FD-A7FD653C3E42}"/>
              </a:ext>
            </a:extLst>
          </p:cNvPr>
          <p:cNvSpPr txBox="1"/>
          <p:nvPr/>
        </p:nvSpPr>
        <p:spPr>
          <a:xfrm rot="20114476">
            <a:off x="1246053" y="1659114"/>
            <a:ext cx="401053" cy="2887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b="1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1696451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Diagonal Corners Rounded 8" descr="Yellow paint applied with a paint roller on a grey surface">
            <a:extLst>
              <a:ext uri="{FF2B5EF4-FFF2-40B4-BE49-F238E27FC236}">
                <a16:creationId xmlns:a16="http://schemas.microsoft.com/office/drawing/2014/main" id="{95C680D9-08B6-AAE2-09DD-262706887C2F}"/>
              </a:ext>
            </a:extLst>
          </p:cNvPr>
          <p:cNvSpPr/>
          <p:nvPr/>
        </p:nvSpPr>
        <p:spPr>
          <a:xfrm>
            <a:off x="4473" y="239"/>
            <a:ext cx="9132158" cy="5095861"/>
          </a:xfrm>
          <a:prstGeom prst="round2DiagRect">
            <a:avLst>
              <a:gd name="adj1" fmla="val 0"/>
              <a:gd name="adj2" fmla="val 14184"/>
            </a:avLst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31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SG" dirty="0" err="1"/>
          </a:p>
        </p:txBody>
      </p:sp>
      <p:pic>
        <p:nvPicPr>
          <p:cNvPr id="3" name="Picture 2" descr="A bucket of paint with a picture of a couple of people&#10;&#10;Description automatically generated">
            <a:extLst>
              <a:ext uri="{FF2B5EF4-FFF2-40B4-BE49-F238E27FC236}">
                <a16:creationId xmlns:a16="http://schemas.microsoft.com/office/drawing/2014/main" id="{EAF95774-6B2F-E71B-7D31-18DE5F6143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13867" y="2307291"/>
            <a:ext cx="1998213" cy="219803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2C7151-79EB-5E94-7FEB-012567F34A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26C25C1-727F-811F-CE21-2869260B6C7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0068858">
            <a:off x="970538" y="1558749"/>
            <a:ext cx="564700" cy="5647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09CCA4D-097A-8A7F-7B9C-4696172D6F3A}"/>
              </a:ext>
            </a:extLst>
          </p:cNvPr>
          <p:cNvSpPr txBox="1"/>
          <p:nvPr/>
        </p:nvSpPr>
        <p:spPr>
          <a:xfrm rot="20114476">
            <a:off x="1246053" y="1659114"/>
            <a:ext cx="401053" cy="2887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b="1"/>
              <a:t>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898C07D-B322-5035-0B24-BB71780B91A1}"/>
              </a:ext>
            </a:extLst>
          </p:cNvPr>
          <p:cNvSpPr txBox="1"/>
          <p:nvPr/>
        </p:nvSpPr>
        <p:spPr>
          <a:xfrm>
            <a:off x="2959701" y="4805116"/>
            <a:ext cx="4209690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i="1" dirty="0">
                <a:solidFill>
                  <a:srgbClr val="FFFFFF"/>
                </a:solidFill>
                <a:cs typeface="Arial"/>
              </a:rPr>
              <a:t>Click on the puzzle icon to hear Farah’s problem.</a:t>
            </a:r>
            <a:endParaRPr lang="en-US" sz="1400" b="1" i="1" dirty="0">
              <a:solidFill>
                <a:srgbClr val="FFFFFF"/>
              </a:solidFill>
            </a:endParaRPr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32E42738-FEE0-ACC2-113A-02851E861CB7}"/>
              </a:ext>
            </a:extLst>
          </p:cNvPr>
          <p:cNvSpPr txBox="1">
            <a:spLocks/>
          </p:cNvSpPr>
          <p:nvPr/>
        </p:nvSpPr>
        <p:spPr>
          <a:xfrm>
            <a:off x="75609" y="142179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sz="3200" dirty="0">
                <a:solidFill>
                  <a:schemeClr val="bg1"/>
                </a:solidFill>
                <a:latin typeface="Colour Sans"/>
              </a:rPr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334962825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ree photo old wall background">
            <a:extLst>
              <a:ext uri="{FF2B5EF4-FFF2-40B4-BE49-F238E27FC236}">
                <a16:creationId xmlns:a16="http://schemas.microsoft.com/office/drawing/2014/main" id="{66439AE2-24F1-DB85-FDCD-BDAB61315B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2C7151-79EB-5E94-7FEB-012567F34A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sp>
        <p:nvSpPr>
          <p:cNvPr id="5" name="Speech Bubble: Rectangle with Corners Rounded 4">
            <a:extLst>
              <a:ext uri="{FF2B5EF4-FFF2-40B4-BE49-F238E27FC236}">
                <a16:creationId xmlns:a16="http://schemas.microsoft.com/office/drawing/2014/main" id="{01354C22-76DA-13B5-F0FA-99CA42F07BDD}"/>
              </a:ext>
            </a:extLst>
          </p:cNvPr>
          <p:cNvSpPr/>
          <p:nvPr/>
        </p:nvSpPr>
        <p:spPr>
          <a:xfrm>
            <a:off x="1435293" y="1455039"/>
            <a:ext cx="2792151" cy="852252"/>
          </a:xfrm>
          <a:prstGeom prst="wedgeRoundRectCallout">
            <a:avLst>
              <a:gd name="adj1" fmla="val -63949"/>
              <a:gd name="adj2" fmla="val 4729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y home is my pride and I want it to look the best. I want to paint with high coverage.</a:t>
            </a:r>
            <a:endParaRPr lang="en-US" sz="16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8720B1CF-5B19-2A93-E1F2-D35EBD11179C}"/>
              </a:ext>
            </a:extLst>
          </p:cNvPr>
          <p:cNvSpPr txBox="1">
            <a:spLocks/>
          </p:cNvSpPr>
          <p:nvPr/>
        </p:nvSpPr>
        <p:spPr>
          <a:xfrm>
            <a:off x="75609" y="142179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sz="3200" dirty="0">
                <a:solidFill>
                  <a:schemeClr val="tx1"/>
                </a:solidFill>
                <a:latin typeface="Colour Sans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13817849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lean windows empty white house blank">
            <a:extLst>
              <a:ext uri="{FF2B5EF4-FFF2-40B4-BE49-F238E27FC236}">
                <a16:creationId xmlns:a16="http://schemas.microsoft.com/office/drawing/2014/main" id="{3091DB62-DE09-81C8-F0C4-4562A651F8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EF1CEEB-85A0-8522-0F9B-85C9BDBD35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sp>
        <p:nvSpPr>
          <p:cNvPr id="2" name="Title 7">
            <a:extLst>
              <a:ext uri="{FF2B5EF4-FFF2-40B4-BE49-F238E27FC236}">
                <a16:creationId xmlns:a16="http://schemas.microsoft.com/office/drawing/2014/main" id="{FE10C3A0-6B6E-01E6-66A2-84498C2D2BF9}"/>
              </a:ext>
            </a:extLst>
          </p:cNvPr>
          <p:cNvSpPr txBox="1">
            <a:spLocks/>
          </p:cNvSpPr>
          <p:nvPr/>
        </p:nvSpPr>
        <p:spPr>
          <a:xfrm>
            <a:off x="506930" y="23907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>
                <a:latin typeface="Colour Sans" panose="02000503030000020004" pitchFamily="2" charset="0"/>
              </a:rPr>
              <a:t>Introduction</a:t>
            </a:r>
          </a:p>
        </p:txBody>
      </p:sp>
      <p:sp>
        <p:nvSpPr>
          <p:cNvPr id="4" name="Speech Bubble: Rectangle 3">
            <a:extLst>
              <a:ext uri="{FF2B5EF4-FFF2-40B4-BE49-F238E27FC236}">
                <a16:creationId xmlns:a16="http://schemas.microsoft.com/office/drawing/2014/main" id="{6D533008-0753-64D3-0A52-C0A70A6AE032}"/>
              </a:ext>
            </a:extLst>
          </p:cNvPr>
          <p:cNvSpPr/>
          <p:nvPr/>
        </p:nvSpPr>
        <p:spPr>
          <a:xfrm>
            <a:off x="1149470" y="1542964"/>
            <a:ext cx="2672032" cy="7636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n-US" dirty="0">
                <a:cs typeface="Arial"/>
              </a:rPr>
              <a:t>Oh no! What happened to my walls?</a:t>
            </a: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697913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aint roller and paint tray on the floor&#10;&#10;Description automatically generated">
            <a:extLst>
              <a:ext uri="{FF2B5EF4-FFF2-40B4-BE49-F238E27FC236}">
                <a16:creationId xmlns:a16="http://schemas.microsoft.com/office/drawing/2014/main" id="{B67B6E4B-CEF1-058F-1CC4-817979B4AD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5288" y="-2215"/>
            <a:ext cx="9191444" cy="5147929"/>
          </a:xfrm>
          <a:prstGeom prst="rect">
            <a:avLst/>
          </a:prstGeom>
        </p:spPr>
      </p:pic>
      <p:pic>
        <p:nvPicPr>
          <p:cNvPr id="3" name="Picture 2" descr="A bucket of paint with a picture of a couple of people&#10;&#10;Description automatically generated">
            <a:extLst>
              <a:ext uri="{FF2B5EF4-FFF2-40B4-BE49-F238E27FC236}">
                <a16:creationId xmlns:a16="http://schemas.microsoft.com/office/drawing/2014/main" id="{EAF95774-6B2F-E71B-7D31-18DE5F6143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01201" y="2307291"/>
            <a:ext cx="1998213" cy="2198034"/>
          </a:xfrm>
          <a:prstGeom prst="rect">
            <a:avLst/>
          </a:prstGeom>
        </p:spPr>
      </p:pic>
      <p:sp>
        <p:nvSpPr>
          <p:cNvPr id="6" name="Speech Bubble: Rectangle with Corners Rounded 5">
            <a:extLst>
              <a:ext uri="{FF2B5EF4-FFF2-40B4-BE49-F238E27FC236}">
                <a16:creationId xmlns:a16="http://schemas.microsoft.com/office/drawing/2014/main" id="{46E31791-F30C-F459-7436-1DC4EB40D6A0}"/>
              </a:ext>
            </a:extLst>
          </p:cNvPr>
          <p:cNvSpPr/>
          <p:nvPr/>
        </p:nvSpPr>
        <p:spPr>
          <a:xfrm>
            <a:off x="4999414" y="1049505"/>
            <a:ext cx="2267489" cy="843825"/>
          </a:xfrm>
          <a:prstGeom prst="wedgeRoundRectCallout">
            <a:avLst>
              <a:gd name="adj1" fmla="val 59593"/>
              <a:gd name="adj2" fmla="val 5742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defRPr/>
            </a:pPr>
            <a:r>
              <a:rPr lang="en-US" sz="1600" kern="100" dirty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Dulux</a:t>
            </a:r>
            <a:r>
              <a:rPr lang="en-US" sz="1600" kern="100" dirty="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 </a:t>
            </a:r>
            <a:r>
              <a:rPr lang="en-US" sz="1600" kern="100" dirty="0" err="1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Pentalite</a:t>
            </a:r>
            <a:r>
              <a:rPr lang="en-US" sz="1600" kern="100" dirty="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 </a:t>
            </a:r>
            <a:r>
              <a:rPr lang="en-US" sz="1600" kern="100" dirty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Classic </a:t>
            </a:r>
            <a:r>
              <a:rPr lang="en-US" sz="1600" kern="100" dirty="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offers a range of benefits to address </a:t>
            </a:r>
            <a:r>
              <a:rPr lang="en-US" sz="1600" kern="100" dirty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Farah’s issue.</a:t>
            </a:r>
            <a:endParaRPr lang="en-US" sz="1600" dirty="0">
              <a:solidFill>
                <a:srgbClr val="FFFFFF"/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9DA25EF-BCF0-D418-80E8-99AEE27914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39304" y="-2216"/>
            <a:ext cx="1604696" cy="5145715"/>
          </a:xfrm>
          <a:prstGeom prst="rect">
            <a:avLst/>
          </a:prstGeom>
        </p:spPr>
      </p:pic>
      <p:sp>
        <p:nvSpPr>
          <p:cNvPr id="9" name="Title 7">
            <a:extLst>
              <a:ext uri="{FF2B5EF4-FFF2-40B4-BE49-F238E27FC236}">
                <a16:creationId xmlns:a16="http://schemas.microsoft.com/office/drawing/2014/main" id="{65CDC10E-8CE2-7147-89FA-20362A07A4B9}"/>
              </a:ext>
            </a:extLst>
          </p:cNvPr>
          <p:cNvSpPr txBox="1">
            <a:spLocks/>
          </p:cNvSpPr>
          <p:nvPr/>
        </p:nvSpPr>
        <p:spPr>
          <a:xfrm>
            <a:off x="291270" y="21766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>
                <a:latin typeface="Colour Sans" panose="02000503030000020004" pitchFamily="2" charset="0"/>
              </a:rPr>
              <a:t>Benefits</a:t>
            </a:r>
          </a:p>
        </p:txBody>
      </p:sp>
    </p:spTree>
    <p:extLst>
      <p:ext uri="{BB962C8B-B14F-4D97-AF65-F5344CB8AC3E}">
        <p14:creationId xmlns:p14="http://schemas.microsoft.com/office/powerpoint/2010/main" val="123999301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 descr="A paint roller and paint tray on the floor&#10;&#10;Description automatically generated">
            <a:extLst>
              <a:ext uri="{FF2B5EF4-FFF2-40B4-BE49-F238E27FC236}">
                <a16:creationId xmlns:a16="http://schemas.microsoft.com/office/drawing/2014/main" id="{A4C70534-F003-6502-9721-463F2415D5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5288" y="-2215"/>
            <a:ext cx="9191444" cy="5147929"/>
          </a:xfrm>
          <a:prstGeom prst="rect">
            <a:avLst/>
          </a:prstGeom>
        </p:spPr>
      </p:pic>
      <p:sp>
        <p:nvSpPr>
          <p:cNvPr id="35" name="Title 7">
            <a:extLst>
              <a:ext uri="{FF2B5EF4-FFF2-40B4-BE49-F238E27FC236}">
                <a16:creationId xmlns:a16="http://schemas.microsoft.com/office/drawing/2014/main" id="{1248DE22-449B-8594-EEA7-8EA9D4B4DD05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latin typeface="Colour Sans" panose="02000503030000020004" pitchFamily="2" charset="0"/>
              </a:rPr>
              <a:t>Benefits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84DF986-3854-C7FB-FC7D-2FD7EFB90135}"/>
              </a:ext>
            </a:extLst>
          </p:cNvPr>
          <p:cNvSpPr/>
          <p:nvPr/>
        </p:nvSpPr>
        <p:spPr>
          <a:xfrm>
            <a:off x="1270338" y="2199179"/>
            <a:ext cx="2776249" cy="56756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Minimal </a:t>
            </a:r>
            <a:r>
              <a:rPr lang="en-US" dirty="0" err="1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odour</a:t>
            </a:r>
            <a:r>
              <a:rPr lang="en-US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 and environmental impact</a:t>
            </a:r>
          </a:p>
        </p:txBody>
      </p:sp>
      <p:pic>
        <p:nvPicPr>
          <p:cNvPr id="48" name="Picture 47" descr="A bucket of paint with a picture of a couple of people&#10;&#10;Description automatically generated">
            <a:extLst>
              <a:ext uri="{FF2B5EF4-FFF2-40B4-BE49-F238E27FC236}">
                <a16:creationId xmlns:a16="http://schemas.microsoft.com/office/drawing/2014/main" id="{D586FB1C-5EAB-89D6-B0EE-ACDF92FC86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02349" y="2859316"/>
            <a:ext cx="1998213" cy="2198034"/>
          </a:xfrm>
          <a:prstGeom prst="rect">
            <a:avLst/>
          </a:prstGeom>
        </p:spPr>
      </p:pic>
      <p:pic>
        <p:nvPicPr>
          <p:cNvPr id="2" name="Picture 1" descr="A logo with green and blue colors&#10;&#10;Description automatically generated">
            <a:extLst>
              <a:ext uri="{FF2B5EF4-FFF2-40B4-BE49-F238E27FC236}">
                <a16:creationId xmlns:a16="http://schemas.microsoft.com/office/drawing/2014/main" id="{F1B62E89-AD02-B5AC-CBD0-D9B896CB0F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97323" y="991319"/>
            <a:ext cx="2341891" cy="1403230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272B43E-58B2-D4B0-5231-AD3F8430D8CF}"/>
              </a:ext>
            </a:extLst>
          </p:cNvPr>
          <p:cNvSpPr/>
          <p:nvPr/>
        </p:nvSpPr>
        <p:spPr>
          <a:xfrm>
            <a:off x="6036432" y="2382490"/>
            <a:ext cx="2064570" cy="37347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Wall protection</a:t>
            </a:r>
          </a:p>
        </p:txBody>
      </p:sp>
      <p:pic>
        <p:nvPicPr>
          <p:cNvPr id="4" name="Picture 3" descr="A blue and white oval with green text&#10;&#10;Description automatically generated">
            <a:extLst>
              <a:ext uri="{FF2B5EF4-FFF2-40B4-BE49-F238E27FC236}">
                <a16:creationId xmlns:a16="http://schemas.microsoft.com/office/drawing/2014/main" id="{1379EFA4-F8BF-D97B-9EAC-D34F45DA45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62832" y="994824"/>
            <a:ext cx="1828620" cy="1158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04507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8B7A0AD-7B8B-08FC-67F5-3517C92256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4"/>
            <a:ext cx="9144000" cy="5140372"/>
          </a:xfrm>
          <a:prstGeom prst="rect">
            <a:avLst/>
          </a:prstGeom>
        </p:spPr>
      </p:pic>
      <p:sp>
        <p:nvSpPr>
          <p:cNvPr id="4" name="Speech Bubble: Rectangle with Corners Rounded 3">
            <a:extLst>
              <a:ext uri="{FF2B5EF4-FFF2-40B4-BE49-F238E27FC236}">
                <a16:creationId xmlns:a16="http://schemas.microsoft.com/office/drawing/2014/main" id="{06ED421B-3386-FD7F-67EA-48DD993819DE}"/>
              </a:ext>
            </a:extLst>
          </p:cNvPr>
          <p:cNvSpPr/>
          <p:nvPr/>
        </p:nvSpPr>
        <p:spPr>
          <a:xfrm>
            <a:off x="3932768" y="1154856"/>
            <a:ext cx="2962815" cy="990959"/>
          </a:xfrm>
          <a:prstGeom prst="wedgeRoundRectCallout">
            <a:avLst>
              <a:gd name="adj1" fmla="val 59593"/>
              <a:gd name="adj2" fmla="val 5742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ulux </a:t>
            </a:r>
            <a:r>
              <a:rPr lang="en-US" sz="14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ntalite</a:t>
            </a:r>
            <a:r>
              <a:rPr lang="en-US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lassic</a:t>
            </a:r>
            <a:r>
              <a:rPr lang="en-US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has distinctive features that set it apart. Let's discover what makes it unique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E01FBAE-7C1A-0621-9DA6-EA3DD73420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39304" y="-2216"/>
            <a:ext cx="1604696" cy="5145715"/>
          </a:xfrm>
          <a:prstGeom prst="rect">
            <a:avLst/>
          </a:prstGeom>
        </p:spPr>
      </p:pic>
      <p:sp>
        <p:nvSpPr>
          <p:cNvPr id="6" name="Title 7">
            <a:extLst>
              <a:ext uri="{FF2B5EF4-FFF2-40B4-BE49-F238E27FC236}">
                <a16:creationId xmlns:a16="http://schemas.microsoft.com/office/drawing/2014/main" id="{2D57D60B-CB36-4884-9D11-2BCDC2826106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Features</a:t>
            </a:r>
          </a:p>
        </p:txBody>
      </p:sp>
      <p:pic>
        <p:nvPicPr>
          <p:cNvPr id="7" name="Picture 6" descr="A bucket of paint with a picture of a couple of people&#10;&#10;Description automatically generated">
            <a:extLst>
              <a:ext uri="{FF2B5EF4-FFF2-40B4-BE49-F238E27FC236}">
                <a16:creationId xmlns:a16="http://schemas.microsoft.com/office/drawing/2014/main" id="{94976C82-A338-C4F4-F7AD-E113BF1020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49310" y="1845667"/>
            <a:ext cx="1998213" cy="2198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66137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5E82E4D-E3B6-6C48-C5AD-CF652677A1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4"/>
            <a:ext cx="9144000" cy="5140372"/>
          </a:xfrm>
          <a:prstGeom prst="rect">
            <a:avLst/>
          </a:prstGeom>
        </p:spPr>
      </p:pic>
      <p:sp>
        <p:nvSpPr>
          <p:cNvPr id="3" name="Title 7">
            <a:extLst>
              <a:ext uri="{FF2B5EF4-FFF2-40B4-BE49-F238E27FC236}">
                <a16:creationId xmlns:a16="http://schemas.microsoft.com/office/drawing/2014/main" id="{D0F6B14F-B904-B75D-C3DA-B11E30891204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Features</a:t>
            </a:r>
          </a:p>
        </p:txBody>
      </p:sp>
      <p:pic>
        <p:nvPicPr>
          <p:cNvPr id="4" name="Picture 3" descr="A paint roller with orange paint&#10;&#10;Description automatically generated">
            <a:extLst>
              <a:ext uri="{FF2B5EF4-FFF2-40B4-BE49-F238E27FC236}">
                <a16:creationId xmlns:a16="http://schemas.microsoft.com/office/drawing/2014/main" id="{09DAFF52-CB69-FC3C-91BB-04DB4F7F16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3727" y="818255"/>
            <a:ext cx="741308" cy="74130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5170593-5FF1-CD1A-8461-03C8F56861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84737" y="859475"/>
            <a:ext cx="706821" cy="706821"/>
          </a:xfrm>
          <a:prstGeom prst="rect">
            <a:avLst/>
          </a:prstGeom>
        </p:spPr>
      </p:pic>
      <p:pic>
        <p:nvPicPr>
          <p:cNvPr id="6" name="Picture 5" descr="A blue and white circles&#10;&#10;Description automatically generated">
            <a:extLst>
              <a:ext uri="{FF2B5EF4-FFF2-40B4-BE49-F238E27FC236}">
                <a16:creationId xmlns:a16="http://schemas.microsoft.com/office/drawing/2014/main" id="{249003F4-0D0B-F26B-203B-0A87E33105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06097" y="823181"/>
            <a:ext cx="738681" cy="738681"/>
          </a:xfrm>
          <a:prstGeom prst="rect">
            <a:avLst/>
          </a:prstGeom>
        </p:spPr>
      </p:pic>
      <p:pic>
        <p:nvPicPr>
          <p:cNvPr id="7" name="Picture 6" descr="A hand with a sponge and stars&#10;&#10;Description automatically generated">
            <a:extLst>
              <a:ext uri="{FF2B5EF4-FFF2-40B4-BE49-F238E27FC236}">
                <a16:creationId xmlns:a16="http://schemas.microsoft.com/office/drawing/2014/main" id="{C5CD4D1A-E0FA-28C3-274E-269E897B52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69562" y="840425"/>
            <a:ext cx="672334" cy="682188"/>
          </a:xfrm>
          <a:prstGeom prst="rect">
            <a:avLst/>
          </a:prstGeom>
        </p:spPr>
      </p:pic>
      <p:pic>
        <p:nvPicPr>
          <p:cNvPr id="8" name="Picture 7" descr="A paint brush with a pink paint dripping&#10;&#10;Description automatically generated">
            <a:extLst>
              <a:ext uri="{FF2B5EF4-FFF2-40B4-BE49-F238E27FC236}">
                <a16:creationId xmlns:a16="http://schemas.microsoft.com/office/drawing/2014/main" id="{1A943978-8A7B-FB4E-712A-7CA4146494E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1235" y="3164197"/>
            <a:ext cx="640146" cy="630621"/>
          </a:xfrm>
          <a:prstGeom prst="rect">
            <a:avLst/>
          </a:prstGeom>
        </p:spPr>
      </p:pic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F0F9081A-60AD-84E0-3132-C509EFD6768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12720" y="3061116"/>
            <a:ext cx="546538" cy="622410"/>
          </a:xfrm>
          <a:prstGeom prst="rect">
            <a:avLst/>
          </a:prstGeom>
        </p:spPr>
      </p:pic>
      <p:pic>
        <p:nvPicPr>
          <p:cNvPr id="10" name="Picture 9" descr="A yellow bucket with red paint&#10;&#10;Description automatically generated">
            <a:extLst>
              <a:ext uri="{FF2B5EF4-FFF2-40B4-BE49-F238E27FC236}">
                <a16:creationId xmlns:a16="http://schemas.microsoft.com/office/drawing/2014/main" id="{9201BB81-3644-EE47-91D9-1B3D0BA51FC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71251" y="3182918"/>
            <a:ext cx="669707" cy="66970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655F573-221E-CD17-A8A2-544DDAFDF38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775116" y="3227259"/>
            <a:ext cx="537999" cy="557705"/>
          </a:xfrm>
          <a:prstGeom prst="rect">
            <a:avLst/>
          </a:prstGeom>
        </p:spPr>
      </p:pic>
      <p:pic>
        <p:nvPicPr>
          <p:cNvPr id="12" name="Picture 11" descr="A yellow paint can with red paint on it&#10;&#10;Description automatically generated">
            <a:extLst>
              <a:ext uri="{FF2B5EF4-FFF2-40B4-BE49-F238E27FC236}">
                <a16:creationId xmlns:a16="http://schemas.microsoft.com/office/drawing/2014/main" id="{8CEEE7B1-5254-21AA-A4CA-F4B5BE857CC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297348" y="2685319"/>
            <a:ext cx="459172" cy="478878"/>
          </a:xfrm>
          <a:prstGeom prst="rect">
            <a:avLst/>
          </a:prstGeom>
        </p:spPr>
      </p:pic>
      <p:pic>
        <p:nvPicPr>
          <p:cNvPr id="13" name="Picture 12" descr="A clock with arrows pointing to the left&#10;&#10;Description automatically generated">
            <a:extLst>
              <a:ext uri="{FF2B5EF4-FFF2-40B4-BE49-F238E27FC236}">
                <a16:creationId xmlns:a16="http://schemas.microsoft.com/office/drawing/2014/main" id="{C6ED1935-6EA7-7074-5095-06C73E1A5E8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016942" y="2798799"/>
            <a:ext cx="942975" cy="94297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8B20B00-633C-62DB-126C-AFD5392FC638}"/>
              </a:ext>
            </a:extLst>
          </p:cNvPr>
          <p:cNvSpPr txBox="1"/>
          <p:nvPr/>
        </p:nvSpPr>
        <p:spPr>
          <a:xfrm>
            <a:off x="5508996" y="4042360"/>
            <a:ext cx="3154557" cy="3440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i="1" kern="1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ck on each icon to learn more.</a:t>
            </a:r>
            <a:endParaRPr lang="en-US" sz="1600" kern="1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687727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AC6D007-2BB9-E105-4887-25EF70A8D4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4"/>
            <a:ext cx="9144000" cy="5140372"/>
          </a:xfrm>
          <a:prstGeom prst="rect">
            <a:avLst/>
          </a:prstGeom>
        </p:spPr>
      </p:pic>
      <p:sp>
        <p:nvSpPr>
          <p:cNvPr id="3" name="Title 7">
            <a:extLst>
              <a:ext uri="{FF2B5EF4-FFF2-40B4-BE49-F238E27FC236}">
                <a16:creationId xmlns:a16="http://schemas.microsoft.com/office/drawing/2014/main" id="{1D90DE2D-B517-8664-0A2E-FB4C78E195D7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Features</a:t>
            </a:r>
          </a:p>
        </p:txBody>
      </p:sp>
      <p:pic>
        <p:nvPicPr>
          <p:cNvPr id="4" name="Picture 3" descr="A paint roller with orange paint&#10;&#10;Description automatically generated">
            <a:extLst>
              <a:ext uri="{FF2B5EF4-FFF2-40B4-BE49-F238E27FC236}">
                <a16:creationId xmlns:a16="http://schemas.microsoft.com/office/drawing/2014/main" id="{CD267C91-3C6F-34DD-5C1A-D57F0DD79F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6304" y="939855"/>
            <a:ext cx="741308" cy="74130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7744309-4AF4-61A4-1349-3FFBD3EAC2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87314" y="981075"/>
            <a:ext cx="706821" cy="706821"/>
          </a:xfrm>
          <a:prstGeom prst="rect">
            <a:avLst/>
          </a:prstGeom>
        </p:spPr>
      </p:pic>
      <p:pic>
        <p:nvPicPr>
          <p:cNvPr id="6" name="Picture 5" descr="A blue and white circles&#10;&#10;Description automatically generated">
            <a:extLst>
              <a:ext uri="{FF2B5EF4-FFF2-40B4-BE49-F238E27FC236}">
                <a16:creationId xmlns:a16="http://schemas.microsoft.com/office/drawing/2014/main" id="{3A89E389-DAB7-6B6F-AC16-F0D1304015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08674" y="944781"/>
            <a:ext cx="738681" cy="738681"/>
          </a:xfrm>
          <a:prstGeom prst="rect">
            <a:avLst/>
          </a:prstGeom>
        </p:spPr>
      </p:pic>
      <p:pic>
        <p:nvPicPr>
          <p:cNvPr id="8" name="Picture 7" descr="A hand with a sponge and stars&#10;&#10;Description automatically generated">
            <a:extLst>
              <a:ext uri="{FF2B5EF4-FFF2-40B4-BE49-F238E27FC236}">
                <a16:creationId xmlns:a16="http://schemas.microsoft.com/office/drawing/2014/main" id="{B5EF438B-5D03-1F58-9252-C8436E597E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72139" y="962025"/>
            <a:ext cx="672334" cy="682188"/>
          </a:xfrm>
          <a:prstGeom prst="rect">
            <a:avLst/>
          </a:prstGeom>
        </p:spPr>
      </p:pic>
      <p:pic>
        <p:nvPicPr>
          <p:cNvPr id="9" name="Picture 8" descr="A paint brush with a pink paint dripping&#10;&#10;Description automatically generated">
            <a:extLst>
              <a:ext uri="{FF2B5EF4-FFF2-40B4-BE49-F238E27FC236}">
                <a16:creationId xmlns:a16="http://schemas.microsoft.com/office/drawing/2014/main" id="{62383DFD-9AFE-0F07-9EF5-30F4BC4EF70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3812" y="3285797"/>
            <a:ext cx="640146" cy="630621"/>
          </a:xfrm>
          <a:prstGeom prst="rect">
            <a:avLst/>
          </a:prstGeom>
        </p:spPr>
      </p:pic>
      <p:pic>
        <p:nvPicPr>
          <p:cNvPr id="10" name="Picture 9" descr="A black and white logo&#10;&#10;Description automatically generated">
            <a:extLst>
              <a:ext uri="{FF2B5EF4-FFF2-40B4-BE49-F238E27FC236}">
                <a16:creationId xmlns:a16="http://schemas.microsoft.com/office/drawing/2014/main" id="{C31CDE0D-C09E-6936-9CBD-B37A2E91291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15297" y="3182716"/>
            <a:ext cx="546538" cy="622410"/>
          </a:xfrm>
          <a:prstGeom prst="rect">
            <a:avLst/>
          </a:prstGeom>
        </p:spPr>
      </p:pic>
      <p:pic>
        <p:nvPicPr>
          <p:cNvPr id="11" name="Picture 10" descr="A yellow bucket with red paint&#10;&#10;Description automatically generated">
            <a:extLst>
              <a:ext uri="{FF2B5EF4-FFF2-40B4-BE49-F238E27FC236}">
                <a16:creationId xmlns:a16="http://schemas.microsoft.com/office/drawing/2014/main" id="{EA5977E8-05E9-956D-76EF-E508BE30994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73828" y="3304518"/>
            <a:ext cx="669707" cy="66970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D291892-5D03-FA54-E5BB-76BBD40B481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077693" y="3348859"/>
            <a:ext cx="537999" cy="557705"/>
          </a:xfrm>
          <a:prstGeom prst="rect">
            <a:avLst/>
          </a:prstGeom>
        </p:spPr>
      </p:pic>
      <p:pic>
        <p:nvPicPr>
          <p:cNvPr id="13" name="Picture 12" descr="A yellow paint can with red paint on it&#10;&#10;Description automatically generated">
            <a:extLst>
              <a:ext uri="{FF2B5EF4-FFF2-40B4-BE49-F238E27FC236}">
                <a16:creationId xmlns:a16="http://schemas.microsoft.com/office/drawing/2014/main" id="{241B58A1-E65B-7F24-9DE7-3411A7580F8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99925" y="2806919"/>
            <a:ext cx="459172" cy="478878"/>
          </a:xfrm>
          <a:prstGeom prst="rect">
            <a:avLst/>
          </a:prstGeom>
        </p:spPr>
      </p:pic>
      <p:pic>
        <p:nvPicPr>
          <p:cNvPr id="14" name="Picture 13" descr="A clock with arrows pointing to the left&#10;&#10;Description automatically generated">
            <a:extLst>
              <a:ext uri="{FF2B5EF4-FFF2-40B4-BE49-F238E27FC236}">
                <a16:creationId xmlns:a16="http://schemas.microsoft.com/office/drawing/2014/main" id="{BB19D848-773E-EC9A-1215-C26BE68FD2A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319519" y="2920399"/>
            <a:ext cx="942975" cy="942975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DAED1998-9162-B0EF-5AF6-1D5FE7DC1B9D}"/>
              </a:ext>
            </a:extLst>
          </p:cNvPr>
          <p:cNvSpPr/>
          <p:nvPr/>
        </p:nvSpPr>
        <p:spPr>
          <a:xfrm>
            <a:off x="172119" y="1800873"/>
            <a:ext cx="1145128" cy="49534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eek and flawless finish</a:t>
            </a:r>
            <a:endParaRPr lang="en-GB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5EECE0AD-47EF-5240-04C2-0559C3953559}"/>
              </a:ext>
            </a:extLst>
          </p:cNvPr>
          <p:cNvSpPr/>
          <p:nvPr/>
        </p:nvSpPr>
        <p:spPr>
          <a:xfrm>
            <a:off x="1903985" y="1800263"/>
            <a:ext cx="1134720" cy="50023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4-16 m</a:t>
            </a:r>
            <a:r>
              <a:rPr lang="en-US" sz="1400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L  Coverage</a:t>
            </a:r>
            <a:endParaRPr lang="en-GB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179B82A-FCC7-95B9-5F60-DCA903F31289}"/>
              </a:ext>
            </a:extLst>
          </p:cNvPr>
          <p:cNvSpPr/>
          <p:nvPr/>
        </p:nvSpPr>
        <p:spPr>
          <a:xfrm>
            <a:off x="3970404" y="4068900"/>
            <a:ext cx="1672229" cy="41161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L, 4 L, and 16 L Available Sizes</a:t>
            </a:r>
            <a:endParaRPr lang="en-GB" sz="14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82177E01-2A40-8E0C-A554-7D2BDBFCEB85}"/>
              </a:ext>
            </a:extLst>
          </p:cNvPr>
          <p:cNvSpPr/>
          <p:nvPr/>
        </p:nvSpPr>
        <p:spPr>
          <a:xfrm>
            <a:off x="6282866" y="4012993"/>
            <a:ext cx="1079055" cy="47184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ng-Lasting Durability</a:t>
            </a:r>
            <a:endParaRPr lang="en-GB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F0E350C5-291F-4B0E-612A-889A6B0A6546}"/>
              </a:ext>
            </a:extLst>
          </p:cNvPr>
          <p:cNvSpPr/>
          <p:nvPr/>
        </p:nvSpPr>
        <p:spPr>
          <a:xfrm>
            <a:off x="3548922" y="1872105"/>
            <a:ext cx="1150712" cy="37396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gh Opacity</a:t>
            </a:r>
            <a:endParaRPr lang="en-GB" sz="140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315D263D-22A6-2148-45BD-65E299493436}"/>
              </a:ext>
            </a:extLst>
          </p:cNvPr>
          <p:cNvSpPr/>
          <p:nvPr/>
        </p:nvSpPr>
        <p:spPr>
          <a:xfrm>
            <a:off x="5001957" y="1885755"/>
            <a:ext cx="1103340" cy="43209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Good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Washability</a:t>
            </a:r>
            <a:endParaRPr lang="en-GB" sz="1400" dirty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84002D3-054F-B43A-2704-15AABE8F484C}"/>
              </a:ext>
            </a:extLst>
          </p:cNvPr>
          <p:cNvSpPr/>
          <p:nvPr/>
        </p:nvSpPr>
        <p:spPr>
          <a:xfrm>
            <a:off x="430435" y="4031028"/>
            <a:ext cx="1204244" cy="49791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Good Colour Fastness</a:t>
            </a:r>
            <a:endParaRPr lang="en-GB" sz="1400" dirty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B52438C4-6591-2BB6-32A0-6027821F32BB}"/>
              </a:ext>
            </a:extLst>
          </p:cNvPr>
          <p:cNvSpPr/>
          <p:nvPr/>
        </p:nvSpPr>
        <p:spPr>
          <a:xfrm>
            <a:off x="1950885" y="4030355"/>
            <a:ext cx="1598037" cy="521441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Superior Mould and Fungus Protection</a:t>
            </a:r>
            <a:endParaRPr lang="en-GB" sz="1400" dirty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9223447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Rounded 1" descr="Yellow paint applied with a paint roller on a grey surface">
            <a:extLst>
              <a:ext uri="{FF2B5EF4-FFF2-40B4-BE49-F238E27FC236}">
                <a16:creationId xmlns:a16="http://schemas.microsoft.com/office/drawing/2014/main" id="{08C6AC58-842A-9493-1A40-6F19C7D275CF}"/>
              </a:ext>
            </a:extLst>
          </p:cNvPr>
          <p:cNvSpPr/>
          <p:nvPr/>
        </p:nvSpPr>
        <p:spPr>
          <a:xfrm>
            <a:off x="4473" y="239"/>
            <a:ext cx="9132158" cy="5095861"/>
          </a:xfrm>
          <a:prstGeom prst="round2DiagRect">
            <a:avLst>
              <a:gd name="adj1" fmla="val 0"/>
              <a:gd name="adj2" fmla="val 14184"/>
            </a:avLst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31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SG" dirty="0" err="1"/>
          </a:p>
        </p:txBody>
      </p:sp>
      <p:pic>
        <p:nvPicPr>
          <p:cNvPr id="6" name="Picture 5" descr="A bucket of paint with a picture of a couple of people&#10;&#10;Description automatically generated">
            <a:extLst>
              <a:ext uri="{FF2B5EF4-FFF2-40B4-BE49-F238E27FC236}">
                <a16:creationId xmlns:a16="http://schemas.microsoft.com/office/drawing/2014/main" id="{BA842EF9-1198-5C6D-4C9B-EB8A8997FA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33661" y="2337455"/>
            <a:ext cx="2398263" cy="2636184"/>
          </a:xfrm>
          <a:prstGeom prst="rect">
            <a:avLst/>
          </a:prstGeom>
        </p:spPr>
      </p:pic>
      <p:pic>
        <p:nvPicPr>
          <p:cNvPr id="7" name="Picture 6" descr="A cartoon of a person wearing a blue jacket&#10;&#10;Description automatically generated">
            <a:extLst>
              <a:ext uri="{FF2B5EF4-FFF2-40B4-BE49-F238E27FC236}">
                <a16:creationId xmlns:a16="http://schemas.microsoft.com/office/drawing/2014/main" id="{1926ADA7-E795-6F6C-9D0C-3D6E217498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sp>
        <p:nvSpPr>
          <p:cNvPr id="9" name="Title 7">
            <a:extLst>
              <a:ext uri="{FF2B5EF4-FFF2-40B4-BE49-F238E27FC236}">
                <a16:creationId xmlns:a16="http://schemas.microsoft.com/office/drawing/2014/main" id="{683261BC-FEF2-CA1D-C456-DEAE1F717111}"/>
              </a:ext>
            </a:extLst>
          </p:cNvPr>
          <p:cNvSpPr txBox="1">
            <a:spLocks/>
          </p:cNvSpPr>
          <p:nvPr/>
        </p:nvSpPr>
        <p:spPr>
          <a:xfrm>
            <a:off x="221180" y="360535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>
                <a:solidFill>
                  <a:srgbClr val="FFFFFF"/>
                </a:solidFill>
                <a:latin typeface="Colour Sans" panose="02000503030000020004" pitchFamily="2" charset="0"/>
              </a:rPr>
              <a:t>Resul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8578FDC-717C-7CFE-006E-AFEC7B808E6B}"/>
              </a:ext>
            </a:extLst>
          </p:cNvPr>
          <p:cNvSpPr txBox="1"/>
          <p:nvPr/>
        </p:nvSpPr>
        <p:spPr>
          <a:xfrm>
            <a:off x="2969894" y="998695"/>
            <a:ext cx="3061334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dirty="0">
                <a:solidFill>
                  <a:srgbClr val="FFFFFF"/>
                </a:solidFill>
                <a:cs typeface="Arial"/>
              </a:rPr>
              <a:t>Enjoy stain free walls and radiant beauty with Dulux </a:t>
            </a:r>
            <a:r>
              <a:rPr lang="en-US" sz="1400" b="1" dirty="0" err="1">
                <a:solidFill>
                  <a:srgbClr val="FFFFFF"/>
                </a:solidFill>
                <a:cs typeface="Arial"/>
              </a:rPr>
              <a:t>Pentalite</a:t>
            </a:r>
            <a:r>
              <a:rPr lang="en-US" sz="1400" b="1" dirty="0">
                <a:solidFill>
                  <a:srgbClr val="FFFFFF"/>
                </a:solidFill>
                <a:cs typeface="Arial"/>
              </a:rPr>
              <a:t> Classic.</a:t>
            </a:r>
            <a:endParaRPr lang="en-US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68635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Rounded 1" descr="Yellow chair on light blue background">
            <a:extLst>
              <a:ext uri="{FF2B5EF4-FFF2-40B4-BE49-F238E27FC236}">
                <a16:creationId xmlns:a16="http://schemas.microsoft.com/office/drawing/2014/main" id="{95BE5291-B157-6007-272C-AC76A497519F}"/>
              </a:ext>
            </a:extLst>
          </p:cNvPr>
          <p:cNvSpPr/>
          <p:nvPr/>
        </p:nvSpPr>
        <p:spPr>
          <a:xfrm>
            <a:off x="1" y="-1"/>
            <a:ext cx="9144000" cy="5143501"/>
          </a:xfrm>
          <a:prstGeom prst="round2DiagRect">
            <a:avLst>
              <a:gd name="adj1" fmla="val 0"/>
              <a:gd name="adj2" fmla="val 14184"/>
            </a:avLst>
          </a:prstGeom>
          <a:blipFill dpi="0" rotWithShape="1">
            <a:blip r:embed="rId3"/>
            <a:srcRect/>
            <a:stretch>
              <a:fillRect l="-31058" t="-22880" r="-1136" b="-9312"/>
            </a:stretch>
          </a:blipFill>
          <a:ln w="31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SG" dirty="0" err="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8ABA8F8-C2A5-48D2-8D44-6ADDB6E51F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26651" y="2174963"/>
            <a:ext cx="2190262" cy="2425612"/>
          </a:xfrm>
          <a:prstGeom prst="rect">
            <a:avLst/>
          </a:prstGeom>
        </p:spPr>
      </p:pic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3F67DD09-3C71-6EB2-9F06-AA992C33B51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1094" y="-317968"/>
            <a:ext cx="2991874" cy="3010924"/>
          </a:xfrm>
          <a:prstGeom prst="rect">
            <a:avLst/>
          </a:prstGeom>
        </p:spPr>
      </p:pic>
      <p:sp>
        <p:nvSpPr>
          <p:cNvPr id="5" name="Title 7">
            <a:extLst>
              <a:ext uri="{FF2B5EF4-FFF2-40B4-BE49-F238E27FC236}">
                <a16:creationId xmlns:a16="http://schemas.microsoft.com/office/drawing/2014/main" id="{904DC6BF-8328-6943-FE5C-085DC74ACD32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latin typeface="Colour Sans" panose="02000503030000020004" pitchFamily="2" charset="0"/>
              </a:rPr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289327923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Rounded 1" descr="Yellow chair on light blue background">
            <a:extLst>
              <a:ext uri="{FF2B5EF4-FFF2-40B4-BE49-F238E27FC236}">
                <a16:creationId xmlns:a16="http://schemas.microsoft.com/office/drawing/2014/main" id="{2008D7EE-B0E8-710B-3DB8-7C9EB9114F64}"/>
              </a:ext>
            </a:extLst>
          </p:cNvPr>
          <p:cNvSpPr/>
          <p:nvPr/>
        </p:nvSpPr>
        <p:spPr>
          <a:xfrm>
            <a:off x="1" y="-1"/>
            <a:ext cx="9144000" cy="5143501"/>
          </a:xfrm>
          <a:prstGeom prst="round2DiagRect">
            <a:avLst>
              <a:gd name="adj1" fmla="val 0"/>
              <a:gd name="adj2" fmla="val 14184"/>
            </a:avLst>
          </a:prstGeom>
          <a:blipFill dpi="0" rotWithShape="1">
            <a:blip r:embed="rId3"/>
            <a:srcRect/>
            <a:stretch>
              <a:fillRect l="-31058" t="-22880" r="-1136" b="-9312"/>
            </a:stretch>
          </a:blipFill>
          <a:ln w="31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SG" dirty="0" err="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72D7E35-EDF6-9341-7811-1671188CCD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29567" y="2946488"/>
            <a:ext cx="1571137" cy="1739812"/>
          </a:xfrm>
          <a:prstGeom prst="rect">
            <a:avLst/>
          </a:prstGeom>
        </p:spPr>
      </p:pic>
      <p:sp>
        <p:nvSpPr>
          <p:cNvPr id="4" name="Speech Bubble: Rectangle with Corners Rounded 3">
            <a:extLst>
              <a:ext uri="{FF2B5EF4-FFF2-40B4-BE49-F238E27FC236}">
                <a16:creationId xmlns:a16="http://schemas.microsoft.com/office/drawing/2014/main" id="{295EAEEE-DECD-F6FC-9492-886EC5305B61}"/>
              </a:ext>
            </a:extLst>
          </p:cNvPr>
          <p:cNvSpPr/>
          <p:nvPr/>
        </p:nvSpPr>
        <p:spPr>
          <a:xfrm>
            <a:off x="4999414" y="1049505"/>
            <a:ext cx="2267489" cy="843825"/>
          </a:xfrm>
          <a:prstGeom prst="wedgeRoundRectCallout">
            <a:avLst>
              <a:gd name="adj1" fmla="val 59593"/>
              <a:gd name="adj2" fmla="val 5742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t's explore how Dulux Promise Interior can address the next challenge Farah is facing. </a:t>
            </a:r>
            <a:endParaRPr lang="en-US" sz="105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358DFF4-BF84-63B9-9364-DEE67953C0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39304" y="-2216"/>
            <a:ext cx="1604696" cy="514571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8950E0D-219B-3E6B-F2D1-1354BA2023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8E0E7DC0-20BA-2D7E-CFE3-074FCAF77361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latin typeface="Colour Sans" panose="02000503030000020004" pitchFamily="2" charset="0"/>
              </a:rPr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228855156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Photo mold and fungus on the wall and white window">
            <a:extLst>
              <a:ext uri="{FF2B5EF4-FFF2-40B4-BE49-F238E27FC236}">
                <a16:creationId xmlns:a16="http://schemas.microsoft.com/office/drawing/2014/main" id="{BAF4C2F0-7D2B-033C-9F71-87B83EFC7E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216"/>
            <a:ext cx="9144000" cy="5145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A30C2D5-F1F4-FD60-71A7-E2D52A65D7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7B18EC4-1D3C-1D4B-E45A-886196CDBA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0068858">
            <a:off x="970538" y="1558749"/>
            <a:ext cx="564700" cy="5647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CC2A0AB-286B-ABB4-25CD-8B377E3EE988}"/>
              </a:ext>
            </a:extLst>
          </p:cNvPr>
          <p:cNvSpPr txBox="1"/>
          <p:nvPr/>
        </p:nvSpPr>
        <p:spPr>
          <a:xfrm rot="20114476">
            <a:off x="1246053" y="1659114"/>
            <a:ext cx="401053" cy="2887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b="1" dirty="0"/>
              <a:t>4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BC87CAD-F386-E1E9-79FE-DB56E1B00648}"/>
              </a:ext>
            </a:extLst>
          </p:cNvPr>
          <p:cNvSpPr txBox="1"/>
          <p:nvPr/>
        </p:nvSpPr>
        <p:spPr>
          <a:xfrm>
            <a:off x="4812099" y="4857750"/>
            <a:ext cx="4333515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i="1" dirty="0">
                <a:cs typeface="Arial"/>
              </a:rPr>
              <a:t>Click on the puzzle icon to hear Farah’s problem.</a:t>
            </a:r>
            <a:endParaRPr lang="en-US" sz="1400" b="1" i="1" dirty="0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1457616C-8D75-23BC-2591-207E09A6F91D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latin typeface="Colour Sans" panose="02000503030000020004" pitchFamily="2" charset="0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148635659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Photo mold and fungus on the wall and white window">
            <a:extLst>
              <a:ext uri="{FF2B5EF4-FFF2-40B4-BE49-F238E27FC236}">
                <a16:creationId xmlns:a16="http://schemas.microsoft.com/office/drawing/2014/main" id="{BAF4C2F0-7D2B-033C-9F71-87B83EFC7E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833" b="-186"/>
          <a:stretch/>
        </p:blipFill>
        <p:spPr bwMode="auto">
          <a:xfrm>
            <a:off x="9525" y="-2216"/>
            <a:ext cx="9172578" cy="5145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A30C2D5-F1F4-FD60-71A7-E2D52A65D7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sp>
        <p:nvSpPr>
          <p:cNvPr id="2" name="Speech Bubble: Rectangle with Corners Rounded 1">
            <a:extLst>
              <a:ext uri="{FF2B5EF4-FFF2-40B4-BE49-F238E27FC236}">
                <a16:creationId xmlns:a16="http://schemas.microsoft.com/office/drawing/2014/main" id="{6190176A-E436-422B-D95E-4A7F962FDA1F}"/>
              </a:ext>
            </a:extLst>
          </p:cNvPr>
          <p:cNvSpPr/>
          <p:nvPr/>
        </p:nvSpPr>
        <p:spPr>
          <a:xfrm>
            <a:off x="1558385" y="967066"/>
            <a:ext cx="4139030" cy="1081867"/>
          </a:xfrm>
          <a:prstGeom prst="wedgeRoundRectCallout">
            <a:avLst>
              <a:gd name="adj1" fmla="val -63949"/>
              <a:gd name="adj2" fmla="val 4729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walls of my home quickly accumulate dirt and lose their luster and washable paint often exceeds my budget. 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BFA52A5F-0A64-68AA-8DBD-FB1D74658DA5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latin typeface="Colour Sans" panose="02000503030000020004" pitchFamily="2" charset="0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4146901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911215-022C-C43E-9866-B75F6E822A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lean windows empty white house blank">
            <a:extLst>
              <a:ext uri="{FF2B5EF4-FFF2-40B4-BE49-F238E27FC236}">
                <a16:creationId xmlns:a16="http://schemas.microsoft.com/office/drawing/2014/main" id="{FD1EA352-7F2E-33AE-4810-C22A733469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7EFEBCE-428E-EF7A-D709-1BFD80983B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sp>
        <p:nvSpPr>
          <p:cNvPr id="2" name="Title 7">
            <a:extLst>
              <a:ext uri="{FF2B5EF4-FFF2-40B4-BE49-F238E27FC236}">
                <a16:creationId xmlns:a16="http://schemas.microsoft.com/office/drawing/2014/main" id="{8F496E55-5DBE-D08E-E6CD-3CAA10C1B32A}"/>
              </a:ext>
            </a:extLst>
          </p:cNvPr>
          <p:cNvSpPr txBox="1">
            <a:spLocks/>
          </p:cNvSpPr>
          <p:nvPr/>
        </p:nvSpPr>
        <p:spPr>
          <a:xfrm>
            <a:off x="506930" y="23907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>
                <a:latin typeface="Colour Sans" panose="02000503030000020004" pitchFamily="2" charset="0"/>
              </a:rPr>
              <a:t>Introduction</a:t>
            </a:r>
          </a:p>
        </p:txBody>
      </p:sp>
      <p:sp>
        <p:nvSpPr>
          <p:cNvPr id="4" name="Speech Bubble: Rectangle 3">
            <a:extLst>
              <a:ext uri="{FF2B5EF4-FFF2-40B4-BE49-F238E27FC236}">
                <a16:creationId xmlns:a16="http://schemas.microsoft.com/office/drawing/2014/main" id="{E7624DA3-EB98-1946-0B38-C8B8D2542CF3}"/>
              </a:ext>
            </a:extLst>
          </p:cNvPr>
          <p:cNvSpPr/>
          <p:nvPr/>
        </p:nvSpPr>
        <p:spPr>
          <a:xfrm>
            <a:off x="1149470" y="1542964"/>
            <a:ext cx="2672032" cy="7636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n-US" dirty="0">
                <a:cs typeface="Arial"/>
              </a:rPr>
              <a:t>I can't even invite someone.</a:t>
            </a:r>
          </a:p>
        </p:txBody>
      </p:sp>
    </p:spTree>
    <p:extLst>
      <p:ext uri="{BB962C8B-B14F-4D97-AF65-F5344CB8AC3E}">
        <p14:creationId xmlns:p14="http://schemas.microsoft.com/office/powerpoint/2010/main" val="294784210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hoto mold and fungus on the wall and white window">
            <a:extLst>
              <a:ext uri="{FF2B5EF4-FFF2-40B4-BE49-F238E27FC236}">
                <a16:creationId xmlns:a16="http://schemas.microsoft.com/office/drawing/2014/main" id="{22D7CB5B-76D1-8491-4B8D-A1B1493430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216"/>
            <a:ext cx="9144000" cy="5145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peech Bubble: Rectangle with Corners Rounded 2">
            <a:extLst>
              <a:ext uri="{FF2B5EF4-FFF2-40B4-BE49-F238E27FC236}">
                <a16:creationId xmlns:a16="http://schemas.microsoft.com/office/drawing/2014/main" id="{6219A96B-426A-9329-550C-947A8C370856}"/>
              </a:ext>
            </a:extLst>
          </p:cNvPr>
          <p:cNvSpPr/>
          <p:nvPr/>
        </p:nvSpPr>
        <p:spPr>
          <a:xfrm>
            <a:off x="4275514" y="1049505"/>
            <a:ext cx="2991389" cy="1148572"/>
          </a:xfrm>
          <a:prstGeom prst="wedgeRoundRectCallout">
            <a:avLst>
              <a:gd name="adj1" fmla="val 73552"/>
              <a:gd name="adj2" fmla="val -5739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ulux Promise Interior is the perfect choice for Farah’s concern. Let's explore the benefits it offers. </a:t>
            </a:r>
            <a:endParaRPr lang="en-US" sz="14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A060A68-EB1E-A1DE-7B0A-C3007806C4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39304" y="-2217"/>
            <a:ext cx="1604696" cy="514571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C9AF486-B323-0AD8-8CEC-12716F2019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361" y="2159044"/>
            <a:ext cx="2618887" cy="2901862"/>
          </a:xfrm>
          <a:prstGeom prst="rect">
            <a:avLst/>
          </a:prstGeom>
        </p:spPr>
      </p:pic>
      <p:sp>
        <p:nvSpPr>
          <p:cNvPr id="6" name="Title 7">
            <a:extLst>
              <a:ext uri="{FF2B5EF4-FFF2-40B4-BE49-F238E27FC236}">
                <a16:creationId xmlns:a16="http://schemas.microsoft.com/office/drawing/2014/main" id="{B7954EAE-C4E6-E917-A3A4-806EABD3D4E3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latin typeface="Colour Sans" panose="02000503030000020004" pitchFamily="2" charset="0"/>
              </a:rPr>
              <a:t>Solution</a:t>
            </a:r>
          </a:p>
        </p:txBody>
      </p:sp>
    </p:spTree>
    <p:extLst>
      <p:ext uri="{BB962C8B-B14F-4D97-AF65-F5344CB8AC3E}">
        <p14:creationId xmlns:p14="http://schemas.microsoft.com/office/powerpoint/2010/main" val="381412957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aint roller and paint tray on the floor&#10;&#10;Description automatically generated">
            <a:extLst>
              <a:ext uri="{FF2B5EF4-FFF2-40B4-BE49-F238E27FC236}">
                <a16:creationId xmlns:a16="http://schemas.microsoft.com/office/drawing/2014/main" id="{A663F04C-C008-7B08-E132-127E7788E0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5288" y="-2215"/>
            <a:ext cx="9191444" cy="5147929"/>
          </a:xfrm>
          <a:prstGeom prst="rect">
            <a:avLst/>
          </a:prstGeom>
        </p:spPr>
      </p:pic>
      <p:sp>
        <p:nvSpPr>
          <p:cNvPr id="3" name="Title 7">
            <a:extLst>
              <a:ext uri="{FF2B5EF4-FFF2-40B4-BE49-F238E27FC236}">
                <a16:creationId xmlns:a16="http://schemas.microsoft.com/office/drawing/2014/main" id="{AEBF93FB-E6DC-5EC8-C2C2-873D511E0F4C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>
                <a:latin typeface="Colour Sans" panose="02000503030000020004" pitchFamily="2" charset="0"/>
              </a:rPr>
              <a:t>Benefi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C30B7B-3C98-DEC0-9312-66CE737931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97033" y="2971369"/>
            <a:ext cx="1571137" cy="1739812"/>
          </a:xfrm>
          <a:prstGeom prst="rect">
            <a:avLst/>
          </a:prstGeom>
        </p:spPr>
      </p:pic>
      <p:pic>
        <p:nvPicPr>
          <p:cNvPr id="5" name="Picture 4" descr="A picture containing logo&#10;&#10;Description automatically generated">
            <a:extLst>
              <a:ext uri="{FF2B5EF4-FFF2-40B4-BE49-F238E27FC236}">
                <a16:creationId xmlns:a16="http://schemas.microsoft.com/office/drawing/2014/main" id="{B4D93E7C-E2FF-9DC4-C4F1-4B3FC0D567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407080" y="1448624"/>
            <a:ext cx="2552704" cy="2543179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9C99134-3664-6E10-BF30-0642168F2CF0}"/>
              </a:ext>
            </a:extLst>
          </p:cNvPr>
          <p:cNvSpPr/>
          <p:nvPr/>
        </p:nvSpPr>
        <p:spPr>
          <a:xfrm>
            <a:off x="789372" y="1668078"/>
            <a:ext cx="2064570" cy="37347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Low </a:t>
            </a:r>
            <a:r>
              <a:rPr lang="en-US" dirty="0" err="1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Odour</a:t>
            </a:r>
            <a:r>
              <a:rPr lang="en-US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/ VOC</a:t>
            </a:r>
          </a:p>
        </p:txBody>
      </p:sp>
      <p:pic>
        <p:nvPicPr>
          <p:cNvPr id="7" name="Picture 6" descr="A blue circle with white text and orange circle with white text&#10;&#10;Description automatically generated">
            <a:extLst>
              <a:ext uri="{FF2B5EF4-FFF2-40B4-BE49-F238E27FC236}">
                <a16:creationId xmlns:a16="http://schemas.microsoft.com/office/drawing/2014/main" id="{CB83AD42-6391-842F-D685-D107BCAD39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11297" y="856205"/>
            <a:ext cx="800100" cy="771525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E0F858C-BC86-1C81-8768-B5769BE79786}"/>
              </a:ext>
            </a:extLst>
          </p:cNvPr>
          <p:cNvSpPr/>
          <p:nvPr/>
        </p:nvSpPr>
        <p:spPr>
          <a:xfrm>
            <a:off x="46827" y="3189238"/>
            <a:ext cx="2064570" cy="66916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Easy washable and easy-wipe 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88743DB-F66F-9C3F-9698-D5415074A680}"/>
              </a:ext>
            </a:extLst>
          </p:cNvPr>
          <p:cNvSpPr/>
          <p:nvPr/>
        </p:nvSpPr>
        <p:spPr>
          <a:xfrm>
            <a:off x="3073017" y="1524098"/>
            <a:ext cx="2064570" cy="66916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Free of added Lead and Mercury</a:t>
            </a: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DE0F45F6-5773-4434-87F0-A2DBFEE885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9728" y="311468"/>
            <a:ext cx="781212" cy="1099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2D8BB1B-5664-1776-79ED-CFEC039CD4C2}"/>
              </a:ext>
            </a:extLst>
          </p:cNvPr>
          <p:cNvSpPr/>
          <p:nvPr/>
        </p:nvSpPr>
        <p:spPr>
          <a:xfrm>
            <a:off x="5396695" y="1524098"/>
            <a:ext cx="1969320" cy="58343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800" kern="1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ngapore Green Label certification</a:t>
            </a:r>
            <a:endParaRPr lang="en-US" dirty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75D8BFD-6305-8E9F-3A57-86EF2B174ED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62029" y="1283510"/>
            <a:ext cx="851802" cy="84956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97165B3-CAAF-F3EB-A79B-42872997CEF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61030" y="479536"/>
            <a:ext cx="781211" cy="911938"/>
          </a:xfrm>
          <a:prstGeom prst="rect">
            <a:avLst/>
          </a:prstGeom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1228483-E9F8-0B8F-8898-71D19C5D4498}"/>
              </a:ext>
            </a:extLst>
          </p:cNvPr>
          <p:cNvSpPr/>
          <p:nvPr/>
        </p:nvSpPr>
        <p:spPr>
          <a:xfrm>
            <a:off x="7455658" y="2212252"/>
            <a:ext cx="1474020" cy="42848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800" kern="1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ti-bacterial </a:t>
            </a:r>
            <a:endParaRPr lang="en-US" dirty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5AB10AD-B78F-9D3E-99F0-94295A852EDE}"/>
              </a:ext>
            </a:extLst>
          </p:cNvPr>
          <p:cNvSpPr/>
          <p:nvPr/>
        </p:nvSpPr>
        <p:spPr>
          <a:xfrm>
            <a:off x="6988933" y="3514077"/>
            <a:ext cx="2064570" cy="666561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800" kern="1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tection against mould/ fungus</a:t>
            </a:r>
            <a:endParaRPr lang="en-US" dirty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95FE500D-2672-9EEC-62F8-EEA73C9705F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48513" y="2043113"/>
            <a:ext cx="1990725" cy="1990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69431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66AA34B-44CD-7FBA-6721-49E93697CD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4"/>
            <a:ext cx="9144000" cy="5140372"/>
          </a:xfrm>
          <a:prstGeom prst="rect">
            <a:avLst/>
          </a:prstGeom>
        </p:spPr>
      </p:pic>
      <p:sp>
        <p:nvSpPr>
          <p:cNvPr id="3" name="Speech Bubble: Rectangle with Corners Rounded 2">
            <a:extLst>
              <a:ext uri="{FF2B5EF4-FFF2-40B4-BE49-F238E27FC236}">
                <a16:creationId xmlns:a16="http://schemas.microsoft.com/office/drawing/2014/main" id="{B780C898-3819-6EB2-878E-15ECB25167E1}"/>
              </a:ext>
            </a:extLst>
          </p:cNvPr>
          <p:cNvSpPr/>
          <p:nvPr/>
        </p:nvSpPr>
        <p:spPr>
          <a:xfrm>
            <a:off x="3401048" y="472492"/>
            <a:ext cx="3696240" cy="1101001"/>
          </a:xfrm>
          <a:prstGeom prst="wedgeRoundRectCallout">
            <a:avLst>
              <a:gd name="adj1" fmla="val 59593"/>
              <a:gd name="adj2" fmla="val 5742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600" kern="100" dirty="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Besides its benefits, </a:t>
            </a:r>
            <a:r>
              <a:rPr lang="en-US" sz="1600" kern="100" dirty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the Dulux Promise Interior</a:t>
            </a:r>
            <a:r>
              <a:rPr lang="en-US" sz="1600" kern="100" dirty="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 has unique characteristics that make it stand out</a:t>
            </a:r>
            <a:r>
              <a:rPr lang="en-US" sz="1600" kern="100" dirty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. </a:t>
            </a:r>
            <a:r>
              <a:rPr lang="en-US" sz="1600" kern="100" dirty="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Let's explore these distinctive features.</a:t>
            </a: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171DDE4-8A4C-5299-982B-A1B6CC7599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39304" y="-2216"/>
            <a:ext cx="1604696" cy="5145715"/>
          </a:xfrm>
          <a:prstGeom prst="rect">
            <a:avLst/>
          </a:prstGeom>
        </p:spPr>
      </p:pic>
      <p:sp>
        <p:nvSpPr>
          <p:cNvPr id="5" name="Title 7">
            <a:extLst>
              <a:ext uri="{FF2B5EF4-FFF2-40B4-BE49-F238E27FC236}">
                <a16:creationId xmlns:a16="http://schemas.microsoft.com/office/drawing/2014/main" id="{165E70F2-31CE-B867-D3D6-1C0F8E6FAA08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Featur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94DF0A4-B095-C903-C115-2EB2C72EE3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62848" y="2145815"/>
            <a:ext cx="1571137" cy="1739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93573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66AA34B-44CD-7FBA-6721-49E93697CD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4"/>
            <a:ext cx="9144000" cy="5140372"/>
          </a:xfrm>
          <a:prstGeom prst="rect">
            <a:avLst/>
          </a:prstGeom>
        </p:spPr>
      </p:pic>
      <p:sp>
        <p:nvSpPr>
          <p:cNvPr id="5" name="Title 7">
            <a:extLst>
              <a:ext uri="{FF2B5EF4-FFF2-40B4-BE49-F238E27FC236}">
                <a16:creationId xmlns:a16="http://schemas.microsoft.com/office/drawing/2014/main" id="{165E70F2-31CE-B867-D3D6-1C0F8E6FAA08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Features</a:t>
            </a:r>
          </a:p>
        </p:txBody>
      </p:sp>
      <p:pic>
        <p:nvPicPr>
          <p:cNvPr id="7" name="Picture 6" descr="A paint roller with orange paint&#10;&#10;Description automatically generated">
            <a:extLst>
              <a:ext uri="{FF2B5EF4-FFF2-40B4-BE49-F238E27FC236}">
                <a16:creationId xmlns:a16="http://schemas.microsoft.com/office/drawing/2014/main" id="{E99427C5-E963-7224-26DD-E42157FEF9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6304" y="939855"/>
            <a:ext cx="741308" cy="74130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61462F4-2A3E-1FC8-8F09-62E446CE04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87314" y="981075"/>
            <a:ext cx="706821" cy="706821"/>
          </a:xfrm>
          <a:prstGeom prst="rect">
            <a:avLst/>
          </a:prstGeom>
        </p:spPr>
      </p:pic>
      <p:pic>
        <p:nvPicPr>
          <p:cNvPr id="9" name="Picture 8" descr="A blue and white circles&#10;&#10;Description automatically generated">
            <a:extLst>
              <a:ext uri="{FF2B5EF4-FFF2-40B4-BE49-F238E27FC236}">
                <a16:creationId xmlns:a16="http://schemas.microsoft.com/office/drawing/2014/main" id="{A0017520-2BB8-2F52-6421-E78D4AA757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08674" y="944781"/>
            <a:ext cx="738681" cy="738681"/>
          </a:xfrm>
          <a:prstGeom prst="rect">
            <a:avLst/>
          </a:prstGeom>
        </p:spPr>
      </p:pic>
      <p:pic>
        <p:nvPicPr>
          <p:cNvPr id="10" name="Picture 9" descr="A hand with a sponge and stars&#10;&#10;Description automatically generated">
            <a:extLst>
              <a:ext uri="{FF2B5EF4-FFF2-40B4-BE49-F238E27FC236}">
                <a16:creationId xmlns:a16="http://schemas.microsoft.com/office/drawing/2014/main" id="{2B382B78-9D04-E6FF-D6AF-69EDD26FF2F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60696" y="910021"/>
            <a:ext cx="672334" cy="682188"/>
          </a:xfrm>
          <a:prstGeom prst="rect">
            <a:avLst/>
          </a:prstGeom>
        </p:spPr>
      </p:pic>
      <p:pic>
        <p:nvPicPr>
          <p:cNvPr id="11" name="Picture 10" descr="A paint brush with a pink paint dripping&#10;&#10;Description automatically generated">
            <a:extLst>
              <a:ext uri="{FF2B5EF4-FFF2-40B4-BE49-F238E27FC236}">
                <a16:creationId xmlns:a16="http://schemas.microsoft.com/office/drawing/2014/main" id="{884DA4EC-F0DA-8E3C-A750-75ABE23F792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3812" y="3285797"/>
            <a:ext cx="640146" cy="630621"/>
          </a:xfrm>
          <a:prstGeom prst="rect">
            <a:avLst/>
          </a:prstGeom>
        </p:spPr>
      </p:pic>
      <p:pic>
        <p:nvPicPr>
          <p:cNvPr id="12" name="Picture 11" descr="A yellow bucket with red paint&#10;&#10;Description automatically generated">
            <a:extLst>
              <a:ext uri="{FF2B5EF4-FFF2-40B4-BE49-F238E27FC236}">
                <a16:creationId xmlns:a16="http://schemas.microsoft.com/office/drawing/2014/main" id="{90886674-5612-6E5A-1B30-66A830A8C3D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73828" y="3304518"/>
            <a:ext cx="669707" cy="6697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AF90E22-2B7D-463F-A347-39C08BB822C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77693" y="3348859"/>
            <a:ext cx="537999" cy="557705"/>
          </a:xfrm>
          <a:prstGeom prst="rect">
            <a:avLst/>
          </a:prstGeom>
        </p:spPr>
      </p:pic>
      <p:pic>
        <p:nvPicPr>
          <p:cNvPr id="14" name="Picture 13" descr="A yellow paint can with red paint on it&#10;&#10;Description automatically generated">
            <a:extLst>
              <a:ext uri="{FF2B5EF4-FFF2-40B4-BE49-F238E27FC236}">
                <a16:creationId xmlns:a16="http://schemas.microsoft.com/office/drawing/2014/main" id="{EB1578CF-A5FC-0BAA-21F1-F347FAA81D3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99925" y="2806919"/>
            <a:ext cx="459172" cy="478878"/>
          </a:xfrm>
          <a:prstGeom prst="rect">
            <a:avLst/>
          </a:prstGeom>
        </p:spPr>
      </p:pic>
      <p:pic>
        <p:nvPicPr>
          <p:cNvPr id="15" name="Picture 14" descr="A clock with arrows pointing to the left&#10;&#10;Description automatically generated">
            <a:extLst>
              <a:ext uri="{FF2B5EF4-FFF2-40B4-BE49-F238E27FC236}">
                <a16:creationId xmlns:a16="http://schemas.microsoft.com/office/drawing/2014/main" id="{F1C83B88-F0EF-3B37-A1B6-7D8E8BB03D6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379423" y="2973443"/>
            <a:ext cx="942975" cy="942975"/>
          </a:xfrm>
          <a:prstGeom prst="rect">
            <a:avLst/>
          </a:prstGeom>
        </p:spPr>
      </p:pic>
      <p:pic>
        <p:nvPicPr>
          <p:cNvPr id="16" name="Picture 15" descr="A colorful circle with a black background&#10;&#10;Description automatically generated">
            <a:extLst>
              <a:ext uri="{FF2B5EF4-FFF2-40B4-BE49-F238E27FC236}">
                <a16:creationId xmlns:a16="http://schemas.microsoft.com/office/drawing/2014/main" id="{19280015-DB16-5279-3131-6FE5FBD9D33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484905" y="845732"/>
            <a:ext cx="778751" cy="77875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F2969CF6-EB80-14F3-3253-4B6C8BB57E5B}"/>
              </a:ext>
            </a:extLst>
          </p:cNvPr>
          <p:cNvSpPr txBox="1"/>
          <p:nvPr/>
        </p:nvSpPr>
        <p:spPr>
          <a:xfrm>
            <a:off x="5508996" y="4042360"/>
            <a:ext cx="3154557" cy="3440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i="1" kern="1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ck on each icon to learn more.</a:t>
            </a:r>
            <a:endParaRPr lang="en-US" sz="1600" kern="1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962753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66AA34B-44CD-7FBA-6721-49E93697CD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4"/>
            <a:ext cx="9144000" cy="5140372"/>
          </a:xfrm>
          <a:prstGeom prst="rect">
            <a:avLst/>
          </a:prstGeom>
        </p:spPr>
      </p:pic>
      <p:sp>
        <p:nvSpPr>
          <p:cNvPr id="5" name="Title 7">
            <a:extLst>
              <a:ext uri="{FF2B5EF4-FFF2-40B4-BE49-F238E27FC236}">
                <a16:creationId xmlns:a16="http://schemas.microsoft.com/office/drawing/2014/main" id="{165E70F2-31CE-B867-D3D6-1C0F8E6FAA08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Features</a:t>
            </a:r>
          </a:p>
        </p:txBody>
      </p:sp>
      <p:pic>
        <p:nvPicPr>
          <p:cNvPr id="3" name="Picture 2" descr="A paint roller with orange paint&#10;&#10;Description automatically generated">
            <a:extLst>
              <a:ext uri="{FF2B5EF4-FFF2-40B4-BE49-F238E27FC236}">
                <a16:creationId xmlns:a16="http://schemas.microsoft.com/office/drawing/2014/main" id="{BA81C740-08EB-2053-629C-F13C7392B0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6304" y="939855"/>
            <a:ext cx="741308" cy="74130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68DD2E1-B256-7DCC-802B-39D487CDC1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87314" y="981075"/>
            <a:ext cx="706821" cy="706821"/>
          </a:xfrm>
          <a:prstGeom prst="rect">
            <a:avLst/>
          </a:prstGeom>
        </p:spPr>
      </p:pic>
      <p:pic>
        <p:nvPicPr>
          <p:cNvPr id="6" name="Picture 5" descr="A blue and white circles&#10;&#10;Description automatically generated">
            <a:extLst>
              <a:ext uri="{FF2B5EF4-FFF2-40B4-BE49-F238E27FC236}">
                <a16:creationId xmlns:a16="http://schemas.microsoft.com/office/drawing/2014/main" id="{4384FB16-56D5-39DF-7497-7B9252E6FFF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08674" y="944781"/>
            <a:ext cx="738681" cy="738681"/>
          </a:xfrm>
          <a:prstGeom prst="rect">
            <a:avLst/>
          </a:prstGeom>
        </p:spPr>
      </p:pic>
      <p:pic>
        <p:nvPicPr>
          <p:cNvPr id="7" name="Picture 6" descr="A hand with a sponge and stars&#10;&#10;Description automatically generated">
            <a:extLst>
              <a:ext uri="{FF2B5EF4-FFF2-40B4-BE49-F238E27FC236}">
                <a16:creationId xmlns:a16="http://schemas.microsoft.com/office/drawing/2014/main" id="{6F1BF8F2-4004-5341-2286-5618C4571E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60696" y="910021"/>
            <a:ext cx="672334" cy="682188"/>
          </a:xfrm>
          <a:prstGeom prst="rect">
            <a:avLst/>
          </a:prstGeom>
        </p:spPr>
      </p:pic>
      <p:pic>
        <p:nvPicPr>
          <p:cNvPr id="8" name="Picture 7" descr="A paint brush with a pink paint dripping&#10;&#10;Description automatically generated">
            <a:extLst>
              <a:ext uri="{FF2B5EF4-FFF2-40B4-BE49-F238E27FC236}">
                <a16:creationId xmlns:a16="http://schemas.microsoft.com/office/drawing/2014/main" id="{CD0BF6BA-9F2D-39AA-4336-D5771651242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3812" y="3285797"/>
            <a:ext cx="640146" cy="630621"/>
          </a:xfrm>
          <a:prstGeom prst="rect">
            <a:avLst/>
          </a:prstGeom>
        </p:spPr>
      </p:pic>
      <p:pic>
        <p:nvPicPr>
          <p:cNvPr id="10" name="Picture 9" descr="A yellow bucket with red paint&#10;&#10;Description automatically generated">
            <a:extLst>
              <a:ext uri="{FF2B5EF4-FFF2-40B4-BE49-F238E27FC236}">
                <a16:creationId xmlns:a16="http://schemas.microsoft.com/office/drawing/2014/main" id="{3821B9D7-93B6-EDA3-687B-8D1D0937852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73828" y="3304518"/>
            <a:ext cx="669707" cy="66970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7FCEAFB-A63E-88A7-879C-376F6BA3F85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77693" y="3348859"/>
            <a:ext cx="537999" cy="557705"/>
          </a:xfrm>
          <a:prstGeom prst="rect">
            <a:avLst/>
          </a:prstGeom>
        </p:spPr>
      </p:pic>
      <p:pic>
        <p:nvPicPr>
          <p:cNvPr id="12" name="Picture 11" descr="A yellow paint can with red paint on it&#10;&#10;Description automatically generated">
            <a:extLst>
              <a:ext uri="{FF2B5EF4-FFF2-40B4-BE49-F238E27FC236}">
                <a16:creationId xmlns:a16="http://schemas.microsoft.com/office/drawing/2014/main" id="{53AA5C4E-0EB6-EFF2-64BF-AA22A0E3BD3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99925" y="2806919"/>
            <a:ext cx="459172" cy="478878"/>
          </a:xfrm>
          <a:prstGeom prst="rect">
            <a:avLst/>
          </a:prstGeom>
        </p:spPr>
      </p:pic>
      <p:pic>
        <p:nvPicPr>
          <p:cNvPr id="13" name="Picture 12" descr="A clock with arrows pointing to the left&#10;&#10;Description automatically generated">
            <a:extLst>
              <a:ext uri="{FF2B5EF4-FFF2-40B4-BE49-F238E27FC236}">
                <a16:creationId xmlns:a16="http://schemas.microsoft.com/office/drawing/2014/main" id="{BF04BAD6-A6EE-C112-5E11-75235ECC608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379423" y="2973443"/>
            <a:ext cx="942975" cy="942975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09DFFFD-0D7E-B832-A04E-773CD4D7876D}"/>
              </a:ext>
            </a:extLst>
          </p:cNvPr>
          <p:cNvSpPr/>
          <p:nvPr/>
        </p:nvSpPr>
        <p:spPr>
          <a:xfrm>
            <a:off x="172119" y="1800873"/>
            <a:ext cx="1145128" cy="49534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tt finish</a:t>
            </a:r>
            <a:endParaRPr lang="en-GB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AD320670-8112-2B6E-0963-1183525ED538}"/>
              </a:ext>
            </a:extLst>
          </p:cNvPr>
          <p:cNvSpPr/>
          <p:nvPr/>
        </p:nvSpPr>
        <p:spPr>
          <a:xfrm>
            <a:off x="1903985" y="1800263"/>
            <a:ext cx="1134720" cy="50023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3-15 m</a:t>
            </a:r>
            <a:r>
              <a:rPr lang="en-US" sz="1400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L  Coverage</a:t>
            </a:r>
            <a:endParaRPr lang="en-GB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5DCED50-A410-9FE2-079C-EC1566FEE4F3}"/>
              </a:ext>
            </a:extLst>
          </p:cNvPr>
          <p:cNvSpPr/>
          <p:nvPr/>
        </p:nvSpPr>
        <p:spPr>
          <a:xfrm>
            <a:off x="3970404" y="4068900"/>
            <a:ext cx="1672229" cy="41161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L, 4 L, and 16 L Available Sizes</a:t>
            </a:r>
            <a:endParaRPr lang="en-GB" sz="14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E94E74A-5117-A944-5428-286E8A0EC292}"/>
              </a:ext>
            </a:extLst>
          </p:cNvPr>
          <p:cNvSpPr/>
          <p:nvPr/>
        </p:nvSpPr>
        <p:spPr>
          <a:xfrm>
            <a:off x="2018427" y="4072882"/>
            <a:ext cx="1761557" cy="53354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ng-Lasting Durability of 3-5 years </a:t>
            </a:r>
            <a:endParaRPr lang="en-GB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75E68C77-7890-EC89-91A3-5C9E1DFB4845}"/>
              </a:ext>
            </a:extLst>
          </p:cNvPr>
          <p:cNvSpPr/>
          <p:nvPr/>
        </p:nvSpPr>
        <p:spPr>
          <a:xfrm>
            <a:off x="3548922" y="1872105"/>
            <a:ext cx="1150712" cy="37396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Good Opacity</a:t>
            </a:r>
            <a:endParaRPr lang="en-GB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576B8B79-7E8C-1F27-53B7-6F34E9A2ADBD}"/>
              </a:ext>
            </a:extLst>
          </p:cNvPr>
          <p:cNvSpPr/>
          <p:nvPr/>
        </p:nvSpPr>
        <p:spPr>
          <a:xfrm>
            <a:off x="6890514" y="1833751"/>
            <a:ext cx="1103340" cy="43209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Good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Washability</a:t>
            </a:r>
            <a:endParaRPr lang="en-GB" sz="1400" dirty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DCA29395-12D6-B33E-C1E9-E9A88A30C055}"/>
              </a:ext>
            </a:extLst>
          </p:cNvPr>
          <p:cNvSpPr/>
          <p:nvPr/>
        </p:nvSpPr>
        <p:spPr>
          <a:xfrm>
            <a:off x="261629" y="4068900"/>
            <a:ext cx="1520450" cy="48525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Good </a:t>
            </a:r>
            <a:r>
              <a:rPr lang="en-US" sz="1400" dirty="0" err="1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Colour</a:t>
            </a:r>
            <a:r>
              <a:rPr lang="en-US" sz="1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 Fastness</a:t>
            </a:r>
            <a:endParaRPr lang="en-GB" sz="1400" dirty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22" name="Picture 21" descr="A colorful circle with a black background&#10;&#10;Description automatically generated">
            <a:extLst>
              <a:ext uri="{FF2B5EF4-FFF2-40B4-BE49-F238E27FC236}">
                <a16:creationId xmlns:a16="http://schemas.microsoft.com/office/drawing/2014/main" id="{0C8DFDC2-58EC-0CCD-BE16-81A1B0FF688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484905" y="845732"/>
            <a:ext cx="778751" cy="778751"/>
          </a:xfrm>
          <a:prstGeom prst="rect">
            <a:avLst/>
          </a:prstGeom>
        </p:spPr>
      </p:pic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6008C11-6886-3A34-00A9-EC94EDE1959F}"/>
              </a:ext>
            </a:extLst>
          </p:cNvPr>
          <p:cNvSpPr/>
          <p:nvPr/>
        </p:nvSpPr>
        <p:spPr>
          <a:xfrm>
            <a:off x="5099421" y="1831296"/>
            <a:ext cx="1386438" cy="42893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2077 Colour Availability</a:t>
            </a:r>
            <a:endParaRPr lang="en-GB" sz="14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9737385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Photo mold and fungus on the wall and white window">
            <a:extLst>
              <a:ext uri="{FF2B5EF4-FFF2-40B4-BE49-F238E27FC236}">
                <a16:creationId xmlns:a16="http://schemas.microsoft.com/office/drawing/2014/main" id="{AAC08003-390D-E33C-6E48-DCEAF64A8B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833" b="-186"/>
          <a:stretch/>
        </p:blipFill>
        <p:spPr bwMode="auto">
          <a:xfrm>
            <a:off x="9525" y="-2216"/>
            <a:ext cx="9172578" cy="5145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7">
            <a:extLst>
              <a:ext uri="{FF2B5EF4-FFF2-40B4-BE49-F238E27FC236}">
                <a16:creationId xmlns:a16="http://schemas.microsoft.com/office/drawing/2014/main" id="{165E70F2-31CE-B867-D3D6-1C0F8E6FAA08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Resul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6B49952-1AB7-B0F9-9175-EEE6F416C6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79778" y="1904759"/>
            <a:ext cx="2847487" cy="3149512"/>
          </a:xfrm>
          <a:prstGeom prst="rect">
            <a:avLst/>
          </a:prstGeom>
        </p:spPr>
      </p:pic>
      <p:pic>
        <p:nvPicPr>
          <p:cNvPr id="10" name="Picture 9" descr="A cartoon of a person wearing a blue jacket&#10;&#10;Description automatically generated">
            <a:extLst>
              <a:ext uri="{FF2B5EF4-FFF2-40B4-BE49-F238E27FC236}">
                <a16:creationId xmlns:a16="http://schemas.microsoft.com/office/drawing/2014/main" id="{327FF740-2C1C-F81F-FA4F-1062B0EFC6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69755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B6EAD798-E3E8-D434-9730-055782132E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913765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63E52700-F371-5CE6-133D-BADEF5AD90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0264" y="2686051"/>
            <a:ext cx="1371598" cy="1371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6CE3508-9F09-8CCC-3749-3BFEBE452839}"/>
              </a:ext>
            </a:extLst>
          </p:cNvPr>
          <p:cNvSpPr/>
          <p:nvPr/>
        </p:nvSpPr>
        <p:spPr>
          <a:xfrm>
            <a:off x="158607" y="2576294"/>
            <a:ext cx="1783040" cy="60926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Suitable for wall and ceiling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E725C96-B7A0-C4FF-36DA-BC86C1E65CEE}"/>
              </a:ext>
            </a:extLst>
          </p:cNvPr>
          <p:cNvSpPr/>
          <p:nvPr/>
        </p:nvSpPr>
        <p:spPr>
          <a:xfrm>
            <a:off x="3829769" y="2554813"/>
            <a:ext cx="1860531" cy="62863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Offers good hiding and spreading 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D141B0F0-8244-B1F9-5C90-3A4D6851A662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112702551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B48475A-A715-EA50-4A1F-9E406B7E51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913765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85FB8E6C-0A39-E56B-1186-525C708F71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0264" y="2686051"/>
            <a:ext cx="1371598" cy="1371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peech Bubble: Rectangle with Corners Rounded 3">
            <a:extLst>
              <a:ext uri="{FF2B5EF4-FFF2-40B4-BE49-F238E27FC236}">
                <a16:creationId xmlns:a16="http://schemas.microsoft.com/office/drawing/2014/main" id="{0508F353-17D8-30D0-2385-6116E6C3E869}"/>
              </a:ext>
            </a:extLst>
          </p:cNvPr>
          <p:cNvSpPr/>
          <p:nvPr/>
        </p:nvSpPr>
        <p:spPr>
          <a:xfrm>
            <a:off x="4999414" y="1049505"/>
            <a:ext cx="2267489" cy="613773"/>
          </a:xfrm>
          <a:prstGeom prst="wedgeRoundRectCallout">
            <a:avLst>
              <a:gd name="adj1" fmla="val 73552"/>
              <a:gd name="adj2" fmla="val -5739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t's explore how </a:t>
            </a:r>
            <a:r>
              <a:rPr lang="en-US" sz="14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intex</a:t>
            </a:r>
            <a:r>
              <a:rPr lang="en-US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tar can resolve her problem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D53C3D-79F9-75AA-0387-7288D88255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39304" y="-2217"/>
            <a:ext cx="1604696" cy="514571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12B5848-3A6F-4766-EC21-9B24AA38A2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C95210A-D27B-35C0-A480-DF38A755673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0068858">
            <a:off x="970538" y="1558749"/>
            <a:ext cx="564700" cy="5647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65C7C71-62B3-0FA5-E78C-1691FBA5EB55}"/>
              </a:ext>
            </a:extLst>
          </p:cNvPr>
          <p:cNvSpPr txBox="1"/>
          <p:nvPr/>
        </p:nvSpPr>
        <p:spPr>
          <a:xfrm rot="20114476">
            <a:off x="1255780" y="1696219"/>
            <a:ext cx="222272" cy="2959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b="1" dirty="0"/>
              <a:t>5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2FC9364C-E50E-6EEC-162F-B4E3A73C57B0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Introduc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05D5DB6-35E8-034A-6021-772F175152AA}"/>
              </a:ext>
            </a:extLst>
          </p:cNvPr>
          <p:cNvSpPr txBox="1"/>
          <p:nvPr/>
        </p:nvSpPr>
        <p:spPr>
          <a:xfrm>
            <a:off x="3676003" y="4903760"/>
            <a:ext cx="3586888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i="1" dirty="0">
                <a:latin typeface="Calibri"/>
                <a:ea typeface="Calibri"/>
                <a:cs typeface="Calibri"/>
              </a:rPr>
              <a:t>Click on the puzzle icon to hear Farah’s problem.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318560459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Photo flooding rainwater or floor heating systems, causing damage, peeling paint and mildew. - image">
            <a:extLst>
              <a:ext uri="{FF2B5EF4-FFF2-40B4-BE49-F238E27FC236}">
                <a16:creationId xmlns:a16="http://schemas.microsoft.com/office/drawing/2014/main" id="{EA32AA87-D061-A0CD-4783-185E94F0EF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E4C3F71-64FE-5D03-D4BC-D8262494C0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sp>
        <p:nvSpPr>
          <p:cNvPr id="3" name="Speech Bubble: Rectangle with Corners Rounded 2">
            <a:extLst>
              <a:ext uri="{FF2B5EF4-FFF2-40B4-BE49-F238E27FC236}">
                <a16:creationId xmlns:a16="http://schemas.microsoft.com/office/drawing/2014/main" id="{4E5AB195-CBC9-9481-8851-C540FA278243}"/>
              </a:ext>
            </a:extLst>
          </p:cNvPr>
          <p:cNvSpPr/>
          <p:nvPr/>
        </p:nvSpPr>
        <p:spPr>
          <a:xfrm>
            <a:off x="1558385" y="967066"/>
            <a:ext cx="3999453" cy="1047472"/>
          </a:xfrm>
          <a:prstGeom prst="wedgeRoundRectCallout">
            <a:avLst>
              <a:gd name="adj1" fmla="val -63949"/>
              <a:gd name="adj2" fmla="val 4729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y wall appears to be in poor condition, with dirt and peeling paint, leaving white marks on my shirt. 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D1BB94A2-F43E-C7F7-31BD-2D6DA9F6F1A6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rgbClr val="005192"/>
                </a:solidFill>
                <a:latin typeface="Colour Sans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214850341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Photo flooding rainwater or floor heating systems, causing damage, peeling paint and mildew. - image">
            <a:extLst>
              <a:ext uri="{FF2B5EF4-FFF2-40B4-BE49-F238E27FC236}">
                <a16:creationId xmlns:a16="http://schemas.microsoft.com/office/drawing/2014/main" id="{EA32AA87-D061-A0CD-4783-185E94F0EF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E4C3F71-64FE-5D03-D4BC-D8262494C0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sp>
        <p:nvSpPr>
          <p:cNvPr id="3" name="Speech Bubble: Rectangle with Corners Rounded 2">
            <a:extLst>
              <a:ext uri="{FF2B5EF4-FFF2-40B4-BE49-F238E27FC236}">
                <a16:creationId xmlns:a16="http://schemas.microsoft.com/office/drawing/2014/main" id="{4E5AB195-CBC9-9481-8851-C540FA278243}"/>
              </a:ext>
            </a:extLst>
          </p:cNvPr>
          <p:cNvSpPr/>
          <p:nvPr/>
        </p:nvSpPr>
        <p:spPr>
          <a:xfrm>
            <a:off x="1558385" y="967066"/>
            <a:ext cx="3442240" cy="1033184"/>
          </a:xfrm>
          <a:prstGeom prst="wedgeRoundRectCallout">
            <a:avLst>
              <a:gd name="adj1" fmla="val -63949"/>
              <a:gd name="adj2" fmla="val 4729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ue to budget issues, I postponed repainting. But now I can’t delay anymore. So, what to do?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F546B0E1-9E39-0B83-04B3-C10A068BFB50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rgbClr val="005192"/>
                </a:solidFill>
                <a:latin typeface="Colour Sans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35020863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A3F88F3-AD54-72CA-7848-1111D9CC70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EF1CEEB-85A0-8522-0F9B-85C9BDBD35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sp>
        <p:nvSpPr>
          <p:cNvPr id="4" name="Title 7">
            <a:extLst>
              <a:ext uri="{FF2B5EF4-FFF2-40B4-BE49-F238E27FC236}">
                <a16:creationId xmlns:a16="http://schemas.microsoft.com/office/drawing/2014/main" id="{FECAF20E-8514-1C37-4C12-2714B67A30C7}"/>
              </a:ext>
            </a:extLst>
          </p:cNvPr>
          <p:cNvSpPr txBox="1">
            <a:spLocks/>
          </p:cNvSpPr>
          <p:nvPr/>
        </p:nvSpPr>
        <p:spPr>
          <a:xfrm>
            <a:off x="506930" y="23907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>
                <a:solidFill>
                  <a:schemeClr val="bg1"/>
                </a:solidFill>
                <a:latin typeface="Colour Sans" panose="02000503030000020004" pitchFamily="2" charset="0"/>
              </a:rPr>
              <a:t>Introduc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9D5BEF2-D431-9D5C-8FD5-C732B90E4BC9}"/>
              </a:ext>
            </a:extLst>
          </p:cNvPr>
          <p:cNvSpPr txBox="1"/>
          <p:nvPr/>
        </p:nvSpPr>
        <p:spPr>
          <a:xfrm>
            <a:off x="1818325" y="4858828"/>
            <a:ext cx="3385485" cy="2181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i="1">
                <a:solidFill>
                  <a:srgbClr val="FFFFFF"/>
                </a:solidFill>
                <a:cs typeface="Arial"/>
              </a:rPr>
              <a:t>Click on Farah’s image to know more.</a:t>
            </a:r>
            <a:endParaRPr lang="en-US" sz="1400" b="1" i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819521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AF3C1B1-5B5F-A639-A8C6-D4427FE62D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913765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>
            <a:extLst>
              <a:ext uri="{FF2B5EF4-FFF2-40B4-BE49-F238E27FC236}">
                <a16:creationId xmlns:a16="http://schemas.microsoft.com/office/drawing/2014/main" id="{EC98BC64-D722-C42A-FD96-34BA09FBAB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0264" y="2686051"/>
            <a:ext cx="1371598" cy="1371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C5E167C-9130-4251-AEF1-1775377A01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39304" y="-2217"/>
            <a:ext cx="1604696" cy="5145715"/>
          </a:xfrm>
          <a:prstGeom prst="rect">
            <a:avLst/>
          </a:prstGeom>
        </p:spPr>
      </p:pic>
      <p:sp>
        <p:nvSpPr>
          <p:cNvPr id="5" name="Speech Bubble: Rectangle with Corners Rounded 4">
            <a:extLst>
              <a:ext uri="{FF2B5EF4-FFF2-40B4-BE49-F238E27FC236}">
                <a16:creationId xmlns:a16="http://schemas.microsoft.com/office/drawing/2014/main" id="{2235FDAA-C0C7-3030-2AA3-71D9F1E94351}"/>
              </a:ext>
            </a:extLst>
          </p:cNvPr>
          <p:cNvSpPr/>
          <p:nvPr/>
        </p:nvSpPr>
        <p:spPr>
          <a:xfrm>
            <a:off x="4786314" y="1049505"/>
            <a:ext cx="2480590" cy="807870"/>
          </a:xfrm>
          <a:prstGeom prst="wedgeRoundRectCallout">
            <a:avLst>
              <a:gd name="adj1" fmla="val 73552"/>
              <a:gd name="adj2" fmla="val -5739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GB" sz="14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intex</a:t>
            </a:r>
            <a:r>
              <a:rPr lang="en-GB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tar</a:t>
            </a:r>
            <a:r>
              <a:rPr lang="en-US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s the perfect choice for Farah’s concern. Let's explore the benefits it offers. </a:t>
            </a:r>
            <a:endParaRPr lang="en-US" sz="14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itle 7">
            <a:extLst>
              <a:ext uri="{FF2B5EF4-FFF2-40B4-BE49-F238E27FC236}">
                <a16:creationId xmlns:a16="http://schemas.microsoft.com/office/drawing/2014/main" id="{50B63A4E-A289-0DBE-D375-6D886F2CF2B4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rgbClr val="005192"/>
                </a:solidFill>
                <a:latin typeface="Colour Sans"/>
              </a:rPr>
              <a:t>Benefits</a:t>
            </a:r>
          </a:p>
        </p:txBody>
      </p:sp>
    </p:spTree>
    <p:extLst>
      <p:ext uri="{BB962C8B-B14F-4D97-AF65-F5344CB8AC3E}">
        <p14:creationId xmlns:p14="http://schemas.microsoft.com/office/powerpoint/2010/main" val="83995239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AF3C1B1-5B5F-A639-A8C6-D4427FE62D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913765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>
            <a:extLst>
              <a:ext uri="{FF2B5EF4-FFF2-40B4-BE49-F238E27FC236}">
                <a16:creationId xmlns:a16="http://schemas.microsoft.com/office/drawing/2014/main" id="{EC98BC64-D722-C42A-FD96-34BA09FBAB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0264" y="2686051"/>
            <a:ext cx="1371598" cy="1371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3593B3F-28D5-2F3F-CF06-D00AE23930C2}"/>
              </a:ext>
            </a:extLst>
          </p:cNvPr>
          <p:cNvSpPr/>
          <p:nvPr/>
        </p:nvSpPr>
        <p:spPr>
          <a:xfrm>
            <a:off x="249372" y="2623993"/>
            <a:ext cx="1604696" cy="61287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Cost-effective 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F2C1E4D3-953E-92C7-9943-4B78E871DB2A}"/>
              </a:ext>
            </a:extLst>
          </p:cNvPr>
          <p:cNvSpPr/>
          <p:nvPr/>
        </p:nvSpPr>
        <p:spPr>
          <a:xfrm>
            <a:off x="651132" y="1600200"/>
            <a:ext cx="1604696" cy="61287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Resists chalking 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C3CA15B-2809-EC98-AD1A-DDBF05B678B1}"/>
              </a:ext>
            </a:extLst>
          </p:cNvPr>
          <p:cNvSpPr/>
          <p:nvPr/>
        </p:nvSpPr>
        <p:spPr>
          <a:xfrm>
            <a:off x="3710913" y="1605103"/>
            <a:ext cx="1987413" cy="64933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Simple and convenient 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FF43ED5-413B-67CB-C5C2-B94F4F355BFA}"/>
              </a:ext>
            </a:extLst>
          </p:cNvPr>
          <p:cNvSpPr/>
          <p:nvPr/>
        </p:nvSpPr>
        <p:spPr>
          <a:xfrm>
            <a:off x="3792607" y="2623993"/>
            <a:ext cx="1987412" cy="61287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Time saving</a:t>
            </a:r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9E91A260-C425-292F-C1A9-152960ECFB1E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rgbClr val="005192"/>
                </a:solidFill>
                <a:latin typeface="Colour Sans"/>
              </a:rPr>
              <a:t>Benefits</a:t>
            </a:r>
          </a:p>
        </p:txBody>
      </p:sp>
    </p:spTree>
    <p:extLst>
      <p:ext uri="{BB962C8B-B14F-4D97-AF65-F5344CB8AC3E}">
        <p14:creationId xmlns:p14="http://schemas.microsoft.com/office/powerpoint/2010/main" val="177355827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AFB923C-A4ED-A48D-7FA3-A50D16BE23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4"/>
            <a:ext cx="9144000" cy="5140372"/>
          </a:xfrm>
          <a:prstGeom prst="rect">
            <a:avLst/>
          </a:prstGeom>
        </p:spPr>
      </p:pic>
      <p:sp>
        <p:nvSpPr>
          <p:cNvPr id="3" name="Speech Bubble: Rectangle with Corners Rounded 2">
            <a:extLst>
              <a:ext uri="{FF2B5EF4-FFF2-40B4-BE49-F238E27FC236}">
                <a16:creationId xmlns:a16="http://schemas.microsoft.com/office/drawing/2014/main" id="{2CFEFFDA-C946-364C-DA36-26FD3434655A}"/>
              </a:ext>
            </a:extLst>
          </p:cNvPr>
          <p:cNvSpPr/>
          <p:nvPr/>
        </p:nvSpPr>
        <p:spPr>
          <a:xfrm>
            <a:off x="4134473" y="472492"/>
            <a:ext cx="2962815" cy="720001"/>
          </a:xfrm>
          <a:prstGeom prst="wedgeRoundRectCallout">
            <a:avLst>
              <a:gd name="adj1" fmla="val 59593"/>
              <a:gd name="adj2" fmla="val 5742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400" kern="100" dirty="0" err="1">
                <a:effectLst/>
                <a:latin typeface="Calibri"/>
                <a:ea typeface="Calibri"/>
                <a:cs typeface="Times New Roman"/>
              </a:rPr>
              <a:t>Paintex</a:t>
            </a:r>
            <a:r>
              <a:rPr lang="en-GB" sz="1400" kern="100" dirty="0">
                <a:effectLst/>
                <a:latin typeface="Calibri"/>
                <a:ea typeface="Calibri"/>
                <a:cs typeface="Times New Roman"/>
              </a:rPr>
              <a:t> Star </a:t>
            </a:r>
            <a:r>
              <a:rPr lang="en-US" sz="1400" kern="100" dirty="0">
                <a:effectLst/>
                <a:latin typeface="Calibri"/>
                <a:ea typeface="Calibri"/>
                <a:cs typeface="Calibri"/>
              </a:rPr>
              <a:t>has unique characteristics that make it stand out. Let’s </a:t>
            </a:r>
            <a:r>
              <a:rPr lang="en-US" sz="1400" kern="100" dirty="0">
                <a:latin typeface="Calibri"/>
                <a:ea typeface="Calibri"/>
                <a:cs typeface="Calibri"/>
              </a:rPr>
              <a:t>explore its distinctive features.</a:t>
            </a:r>
            <a:endParaRPr lang="en-US" sz="14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BA00E32-0EF3-2A71-480F-B1AD9BD98A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39304" y="-2216"/>
            <a:ext cx="1604696" cy="5145715"/>
          </a:xfrm>
          <a:prstGeom prst="rect">
            <a:avLst/>
          </a:prstGeom>
        </p:spPr>
      </p:pic>
      <p:sp>
        <p:nvSpPr>
          <p:cNvPr id="5" name="Title 7">
            <a:extLst>
              <a:ext uri="{FF2B5EF4-FFF2-40B4-BE49-F238E27FC236}">
                <a16:creationId xmlns:a16="http://schemas.microsoft.com/office/drawing/2014/main" id="{DA02E1F6-4A40-EC29-1CA4-7EAEC91EAB90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Features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4702733E-68D8-6BC7-66DB-876DC1AABC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4917" y="2226582"/>
            <a:ext cx="1371598" cy="1371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856132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1492556-CF10-1090-3E2B-7658DD5322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4"/>
            <a:ext cx="9144000" cy="5140372"/>
          </a:xfrm>
          <a:prstGeom prst="rect">
            <a:avLst/>
          </a:prstGeom>
        </p:spPr>
      </p:pic>
      <p:sp>
        <p:nvSpPr>
          <p:cNvPr id="3" name="Title 7">
            <a:extLst>
              <a:ext uri="{FF2B5EF4-FFF2-40B4-BE49-F238E27FC236}">
                <a16:creationId xmlns:a16="http://schemas.microsoft.com/office/drawing/2014/main" id="{D75F95BC-0891-42B0-BF26-E0ADF2C1C16A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Features</a:t>
            </a:r>
          </a:p>
        </p:txBody>
      </p:sp>
      <p:pic>
        <p:nvPicPr>
          <p:cNvPr id="4" name="Picture 3" descr="A paint roller with orange paint&#10;&#10;Description automatically generated">
            <a:extLst>
              <a:ext uri="{FF2B5EF4-FFF2-40B4-BE49-F238E27FC236}">
                <a16:creationId xmlns:a16="http://schemas.microsoft.com/office/drawing/2014/main" id="{1838B1A1-5CD3-AA5B-D74F-A24DC5FE6B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6304" y="939855"/>
            <a:ext cx="741308" cy="74130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7A91135-2638-FA5E-981F-EE2A56F41F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87314" y="981075"/>
            <a:ext cx="706821" cy="706821"/>
          </a:xfrm>
          <a:prstGeom prst="rect">
            <a:avLst/>
          </a:prstGeom>
        </p:spPr>
      </p:pic>
      <p:pic>
        <p:nvPicPr>
          <p:cNvPr id="6" name="Picture 5" descr="A blue and white circles&#10;&#10;Description automatically generated">
            <a:extLst>
              <a:ext uri="{FF2B5EF4-FFF2-40B4-BE49-F238E27FC236}">
                <a16:creationId xmlns:a16="http://schemas.microsoft.com/office/drawing/2014/main" id="{DF5A6743-F547-0945-0F73-5A113592ED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08674" y="944781"/>
            <a:ext cx="738681" cy="738681"/>
          </a:xfrm>
          <a:prstGeom prst="rect">
            <a:avLst/>
          </a:prstGeom>
        </p:spPr>
      </p:pic>
      <p:pic>
        <p:nvPicPr>
          <p:cNvPr id="8" name="Picture 7" descr="A paint brush with a pink paint dripping&#10;&#10;Description automatically generated">
            <a:extLst>
              <a:ext uri="{FF2B5EF4-FFF2-40B4-BE49-F238E27FC236}">
                <a16:creationId xmlns:a16="http://schemas.microsoft.com/office/drawing/2014/main" id="{929F4C9F-9616-1958-C074-2AE235A003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3812" y="3285797"/>
            <a:ext cx="640146" cy="630621"/>
          </a:xfrm>
          <a:prstGeom prst="rect">
            <a:avLst/>
          </a:prstGeom>
        </p:spPr>
      </p:pic>
      <p:pic>
        <p:nvPicPr>
          <p:cNvPr id="9" name="Picture 8" descr="A yellow bucket with red paint&#10;&#10;Description automatically generated">
            <a:extLst>
              <a:ext uri="{FF2B5EF4-FFF2-40B4-BE49-F238E27FC236}">
                <a16:creationId xmlns:a16="http://schemas.microsoft.com/office/drawing/2014/main" id="{E21F2008-CE61-423C-B58C-E58295F3087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73828" y="3304518"/>
            <a:ext cx="669707" cy="6697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08105C2-86A5-5F14-851E-C779E41B028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77693" y="3348859"/>
            <a:ext cx="537999" cy="557705"/>
          </a:xfrm>
          <a:prstGeom prst="rect">
            <a:avLst/>
          </a:prstGeom>
        </p:spPr>
      </p:pic>
      <p:pic>
        <p:nvPicPr>
          <p:cNvPr id="12" name="Picture 11" descr="A clock with arrows pointing to the left&#10;&#10;Description automatically generated">
            <a:extLst>
              <a:ext uri="{FF2B5EF4-FFF2-40B4-BE49-F238E27FC236}">
                <a16:creationId xmlns:a16="http://schemas.microsoft.com/office/drawing/2014/main" id="{CAD649EB-BA96-E58D-4A0E-A7C7E982948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379423" y="2973443"/>
            <a:ext cx="942975" cy="942975"/>
          </a:xfrm>
          <a:prstGeom prst="rect">
            <a:avLst/>
          </a:prstGeom>
        </p:spPr>
      </p:pic>
      <p:pic>
        <p:nvPicPr>
          <p:cNvPr id="13" name="Picture 12" descr="A colorful circle with a black background&#10;&#10;Description automatically generated">
            <a:extLst>
              <a:ext uri="{FF2B5EF4-FFF2-40B4-BE49-F238E27FC236}">
                <a16:creationId xmlns:a16="http://schemas.microsoft.com/office/drawing/2014/main" id="{73C04702-EED1-0E45-625B-48F517C53C1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484905" y="845732"/>
            <a:ext cx="778751" cy="77875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0486CC4-B7E4-C99F-9846-1BA3E7D17CD0}"/>
              </a:ext>
            </a:extLst>
          </p:cNvPr>
          <p:cNvSpPr txBox="1"/>
          <p:nvPr/>
        </p:nvSpPr>
        <p:spPr>
          <a:xfrm>
            <a:off x="5508996" y="4042360"/>
            <a:ext cx="3154557" cy="3440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i="1" kern="1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ck on each icon to learn more.</a:t>
            </a:r>
            <a:endParaRPr lang="en-US" sz="1600" kern="1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166035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1492556-CF10-1090-3E2B-7658DD5322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4"/>
            <a:ext cx="9144000" cy="5140372"/>
          </a:xfrm>
          <a:prstGeom prst="rect">
            <a:avLst/>
          </a:prstGeom>
        </p:spPr>
      </p:pic>
      <p:sp>
        <p:nvSpPr>
          <p:cNvPr id="3" name="Title 7">
            <a:extLst>
              <a:ext uri="{FF2B5EF4-FFF2-40B4-BE49-F238E27FC236}">
                <a16:creationId xmlns:a16="http://schemas.microsoft.com/office/drawing/2014/main" id="{D75F95BC-0891-42B0-BF26-E0ADF2C1C16A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Features</a:t>
            </a:r>
          </a:p>
        </p:txBody>
      </p:sp>
      <p:pic>
        <p:nvPicPr>
          <p:cNvPr id="15" name="Picture 14" descr="A paint roller with orange paint&#10;&#10;Description automatically generated">
            <a:extLst>
              <a:ext uri="{FF2B5EF4-FFF2-40B4-BE49-F238E27FC236}">
                <a16:creationId xmlns:a16="http://schemas.microsoft.com/office/drawing/2014/main" id="{C46E65C1-1C8F-E2A3-F159-5933FD8959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6304" y="939855"/>
            <a:ext cx="741308" cy="74130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06C9A6D-E1CB-CEC1-0908-EF761FDEAF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87314" y="981075"/>
            <a:ext cx="706821" cy="706821"/>
          </a:xfrm>
          <a:prstGeom prst="rect">
            <a:avLst/>
          </a:prstGeom>
        </p:spPr>
      </p:pic>
      <p:pic>
        <p:nvPicPr>
          <p:cNvPr id="17" name="Picture 16" descr="A blue and white circles&#10;&#10;Description automatically generated">
            <a:extLst>
              <a:ext uri="{FF2B5EF4-FFF2-40B4-BE49-F238E27FC236}">
                <a16:creationId xmlns:a16="http://schemas.microsoft.com/office/drawing/2014/main" id="{814C63EF-047C-C1E2-31B9-CC742C28DE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08674" y="944781"/>
            <a:ext cx="738681" cy="738681"/>
          </a:xfrm>
          <a:prstGeom prst="rect">
            <a:avLst/>
          </a:prstGeom>
        </p:spPr>
      </p:pic>
      <p:pic>
        <p:nvPicPr>
          <p:cNvPr id="19" name="Picture 18" descr="A paint brush with a pink paint dripping&#10;&#10;Description automatically generated">
            <a:extLst>
              <a:ext uri="{FF2B5EF4-FFF2-40B4-BE49-F238E27FC236}">
                <a16:creationId xmlns:a16="http://schemas.microsoft.com/office/drawing/2014/main" id="{C21529E7-CDD9-70C9-87F9-F6D7FCD911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3812" y="3285797"/>
            <a:ext cx="640146" cy="630621"/>
          </a:xfrm>
          <a:prstGeom prst="rect">
            <a:avLst/>
          </a:prstGeom>
        </p:spPr>
      </p:pic>
      <p:pic>
        <p:nvPicPr>
          <p:cNvPr id="20" name="Picture 19" descr="A yellow bucket with red paint&#10;&#10;Description automatically generated">
            <a:extLst>
              <a:ext uri="{FF2B5EF4-FFF2-40B4-BE49-F238E27FC236}">
                <a16:creationId xmlns:a16="http://schemas.microsoft.com/office/drawing/2014/main" id="{D663AE12-2CD0-9CE0-E2A6-97AF7FAFE91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73828" y="3304518"/>
            <a:ext cx="669707" cy="66970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3129A60-69F4-095D-9472-2CCBD4D851F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77693" y="3348859"/>
            <a:ext cx="537999" cy="557705"/>
          </a:xfrm>
          <a:prstGeom prst="rect">
            <a:avLst/>
          </a:prstGeom>
        </p:spPr>
      </p:pic>
      <p:pic>
        <p:nvPicPr>
          <p:cNvPr id="23" name="Picture 22" descr="A clock with arrows pointing to the left&#10;&#10;Description automatically generated">
            <a:extLst>
              <a:ext uri="{FF2B5EF4-FFF2-40B4-BE49-F238E27FC236}">
                <a16:creationId xmlns:a16="http://schemas.microsoft.com/office/drawing/2014/main" id="{9C24FCA7-5D09-708F-648C-CA58611D0D4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379423" y="2973443"/>
            <a:ext cx="942975" cy="942975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6C0392AD-10B2-A863-D0AD-0119551689F9}"/>
              </a:ext>
            </a:extLst>
          </p:cNvPr>
          <p:cNvSpPr/>
          <p:nvPr/>
        </p:nvSpPr>
        <p:spPr>
          <a:xfrm>
            <a:off x="172119" y="1800873"/>
            <a:ext cx="1145128" cy="49534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tt finish</a:t>
            </a:r>
            <a:endParaRPr lang="en-GB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1EA79744-A270-543F-115B-23FF4AABC01D}"/>
              </a:ext>
            </a:extLst>
          </p:cNvPr>
          <p:cNvSpPr/>
          <p:nvPr/>
        </p:nvSpPr>
        <p:spPr>
          <a:xfrm>
            <a:off x="1903985" y="1800263"/>
            <a:ext cx="1134720" cy="50023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-14 m</a:t>
            </a:r>
            <a:r>
              <a:rPr lang="en-US" sz="1400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L  Coverage</a:t>
            </a:r>
            <a:endParaRPr lang="en-GB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45197101-98CD-0525-EF80-2EAFCF9095C2}"/>
              </a:ext>
            </a:extLst>
          </p:cNvPr>
          <p:cNvSpPr/>
          <p:nvPr/>
        </p:nvSpPr>
        <p:spPr>
          <a:xfrm>
            <a:off x="3970405" y="4068900"/>
            <a:ext cx="1731416" cy="74283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.6 L and 14.56 L Available Sizes</a:t>
            </a:r>
            <a:endParaRPr lang="en-GB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C4915303-C260-3953-427E-3482A2D19831}"/>
              </a:ext>
            </a:extLst>
          </p:cNvPr>
          <p:cNvSpPr/>
          <p:nvPr/>
        </p:nvSpPr>
        <p:spPr>
          <a:xfrm>
            <a:off x="2018427" y="4072882"/>
            <a:ext cx="1664966" cy="74283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ng-Lasting Durability of 1-2 years </a:t>
            </a:r>
            <a:endParaRPr lang="en-GB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4C05668F-15B7-2A53-7D91-B0FF5ED68C10}"/>
              </a:ext>
            </a:extLst>
          </p:cNvPr>
          <p:cNvSpPr/>
          <p:nvPr/>
        </p:nvSpPr>
        <p:spPr>
          <a:xfrm>
            <a:off x="3548922" y="1872105"/>
            <a:ext cx="1150712" cy="37396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Basic Opacity</a:t>
            </a:r>
            <a:endParaRPr lang="en-GB" sz="1400" dirty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C864E35F-B243-25E5-2E70-B6AFBFD96267}"/>
              </a:ext>
            </a:extLst>
          </p:cNvPr>
          <p:cNvSpPr/>
          <p:nvPr/>
        </p:nvSpPr>
        <p:spPr>
          <a:xfrm>
            <a:off x="261629" y="4068900"/>
            <a:ext cx="1520450" cy="74283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Basic </a:t>
            </a:r>
            <a:r>
              <a:rPr lang="en-US" sz="1400" dirty="0" err="1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Colour</a:t>
            </a:r>
            <a:r>
              <a:rPr lang="en-US" sz="1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 Protection </a:t>
            </a:r>
          </a:p>
        </p:txBody>
      </p:sp>
      <p:pic>
        <p:nvPicPr>
          <p:cNvPr id="31" name="Picture 30" descr="A colorful circle with a black background&#10;&#10;Description automatically generated">
            <a:extLst>
              <a:ext uri="{FF2B5EF4-FFF2-40B4-BE49-F238E27FC236}">
                <a16:creationId xmlns:a16="http://schemas.microsoft.com/office/drawing/2014/main" id="{8BDD1ECA-DE0F-5914-C703-E455C311BFA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484905" y="845732"/>
            <a:ext cx="778751" cy="778751"/>
          </a:xfrm>
          <a:prstGeom prst="rect">
            <a:avLst/>
          </a:prstGeom>
        </p:spPr>
      </p:pic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A84862D4-E8F7-2A15-0290-8103F0C8A40A}"/>
              </a:ext>
            </a:extLst>
          </p:cNvPr>
          <p:cNvSpPr/>
          <p:nvPr/>
        </p:nvSpPr>
        <p:spPr>
          <a:xfrm>
            <a:off x="5099421" y="1831296"/>
            <a:ext cx="1386438" cy="42893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15 ready mixed colours </a:t>
            </a:r>
            <a:endParaRPr lang="en-GB" sz="1400" dirty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1160073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hoto flooding rainwater or floor heating systems, causing damage, peeling paint and mildew. - image">
            <a:extLst>
              <a:ext uri="{FF2B5EF4-FFF2-40B4-BE49-F238E27FC236}">
                <a16:creationId xmlns:a16="http://schemas.microsoft.com/office/drawing/2014/main" id="{408AF10E-B4EC-AC09-C5EF-5AC93BC4B6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7">
            <a:extLst>
              <a:ext uri="{FF2B5EF4-FFF2-40B4-BE49-F238E27FC236}">
                <a16:creationId xmlns:a16="http://schemas.microsoft.com/office/drawing/2014/main" id="{AC76D946-7B0C-A0D3-2EBA-E0A5CF2E21FF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rgbClr val="005192"/>
                </a:solidFill>
                <a:latin typeface="Colour Sans"/>
              </a:rPr>
              <a:t>Result</a:t>
            </a: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ED8EC739-EB47-B6EB-5FC1-BB0B0BCB8E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04" y="1576389"/>
            <a:ext cx="2295524" cy="2295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5D4990A-8907-F3FA-5554-C57CB0D4E0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B474082-F34F-44D6-102F-D48F49BFCE88}"/>
              </a:ext>
            </a:extLst>
          </p:cNvPr>
          <p:cNvSpPr txBox="1"/>
          <p:nvPr/>
        </p:nvSpPr>
        <p:spPr>
          <a:xfrm>
            <a:off x="3596091" y="947818"/>
            <a:ext cx="5544518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>
                <a:cs typeface="Arial"/>
              </a:rPr>
              <a:t>Enjoy </a:t>
            </a:r>
            <a:r>
              <a:rPr lang="en-US" sz="1600" b="1" dirty="0">
                <a:cs typeface="Arial"/>
              </a:rPr>
              <a:t>stain free</a:t>
            </a:r>
            <a:r>
              <a:rPr lang="en-US" sz="1600" dirty="0">
                <a:cs typeface="Arial"/>
              </a:rPr>
              <a:t> walls and </a:t>
            </a:r>
            <a:r>
              <a:rPr lang="en-US" sz="1600" b="1" dirty="0">
                <a:cs typeface="Arial"/>
              </a:rPr>
              <a:t>radiant beauty</a:t>
            </a:r>
            <a:r>
              <a:rPr lang="en-US" sz="1600" dirty="0">
                <a:cs typeface="Arial"/>
              </a:rPr>
              <a:t> with </a:t>
            </a:r>
            <a:r>
              <a:rPr lang="en-US" sz="1600" dirty="0" err="1">
                <a:cs typeface="Arial"/>
              </a:rPr>
              <a:t>Paintex</a:t>
            </a:r>
            <a:r>
              <a:rPr lang="en-US" sz="1600" dirty="0">
                <a:cs typeface="Arial"/>
              </a:rPr>
              <a:t> Star.</a:t>
            </a:r>
            <a:endParaRPr lang="en-US" sz="1600" b="0" dirty="0"/>
          </a:p>
        </p:txBody>
      </p:sp>
    </p:spTree>
    <p:extLst>
      <p:ext uri="{BB962C8B-B14F-4D97-AF65-F5344CB8AC3E}">
        <p14:creationId xmlns:p14="http://schemas.microsoft.com/office/powerpoint/2010/main" val="47545601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ulux Velvet Touch - Diamond Glo - YouTube">
            <a:extLst>
              <a:ext uri="{FF2B5EF4-FFF2-40B4-BE49-F238E27FC236}">
                <a16:creationId xmlns:a16="http://schemas.microsoft.com/office/drawing/2014/main" id="{B6249B6F-ADAA-17CE-F692-23AB2440DD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7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7">
            <a:extLst>
              <a:ext uri="{FF2B5EF4-FFF2-40B4-BE49-F238E27FC236}">
                <a16:creationId xmlns:a16="http://schemas.microsoft.com/office/drawing/2014/main" id="{F975312D-1271-8907-D342-5126EF9D5B9C}"/>
              </a:ext>
            </a:extLst>
          </p:cNvPr>
          <p:cNvSpPr txBox="1">
            <a:spLocks/>
          </p:cNvSpPr>
          <p:nvPr/>
        </p:nvSpPr>
        <p:spPr>
          <a:xfrm>
            <a:off x="506930" y="23907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Introduction</a:t>
            </a:r>
          </a:p>
        </p:txBody>
      </p:sp>
      <p:pic>
        <p:nvPicPr>
          <p:cNvPr id="2" name="Picture 1" descr="A purple bucket of paint&#10;&#10;Description automatically generated">
            <a:extLst>
              <a:ext uri="{FF2B5EF4-FFF2-40B4-BE49-F238E27FC236}">
                <a16:creationId xmlns:a16="http://schemas.microsoft.com/office/drawing/2014/main" id="{9746EC29-259F-5BFF-BD6A-73E3F61497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2701" y="2460695"/>
            <a:ext cx="2675963" cy="244373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D74E4DA-6F60-1FE5-F21C-BD2EA8F16609}"/>
              </a:ext>
            </a:extLst>
          </p:cNvPr>
          <p:cNvSpPr txBox="1"/>
          <p:nvPr/>
        </p:nvSpPr>
        <p:spPr>
          <a:xfrm>
            <a:off x="2236520" y="1858549"/>
            <a:ext cx="4670960" cy="36307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0" tIns="0" rIns="0" bIns="0" rtlCol="0" anchor="t">
            <a:noAutofit/>
          </a:bodyPr>
          <a:lstStyle/>
          <a:p>
            <a:r>
              <a:rPr lang="en-SG" sz="2000" b="1" i="1" dirty="0">
                <a:latin typeface="Calibri"/>
                <a:ea typeface="Calibri"/>
                <a:cs typeface="Times New Roman"/>
              </a:rPr>
              <a:t>A</a:t>
            </a:r>
            <a:r>
              <a:rPr lang="en-SG" sz="2000" b="1" i="1" dirty="0">
                <a:effectLst/>
                <a:latin typeface="Calibri"/>
                <a:ea typeface="Calibri"/>
                <a:cs typeface="Times New Roman"/>
              </a:rPr>
              <a:t>ffordable for your wall and ceiling.</a:t>
            </a:r>
            <a:r>
              <a:rPr lang="en-SG" sz="2000" b="1" i="1" dirty="0">
                <a:latin typeface="Calibri"/>
                <a:ea typeface="Calibri"/>
                <a:cs typeface="Times New Roman"/>
              </a:rPr>
              <a:t> </a:t>
            </a:r>
            <a:endParaRPr lang="en-SG" sz="2000" b="1" i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6206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Free photo beautiful view of the interior of an old abandoned building">
            <a:extLst>
              <a:ext uri="{FF2B5EF4-FFF2-40B4-BE49-F238E27FC236}">
                <a16:creationId xmlns:a16="http://schemas.microsoft.com/office/drawing/2014/main" id="{500CD8B3-E1F3-EF76-7CFA-7AD18CC65D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7672388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7">
            <a:extLst>
              <a:ext uri="{FF2B5EF4-FFF2-40B4-BE49-F238E27FC236}">
                <a16:creationId xmlns:a16="http://schemas.microsoft.com/office/drawing/2014/main" id="{F975312D-1271-8907-D342-5126EF9D5B9C}"/>
              </a:ext>
            </a:extLst>
          </p:cNvPr>
          <p:cNvSpPr txBox="1">
            <a:spLocks/>
          </p:cNvSpPr>
          <p:nvPr/>
        </p:nvSpPr>
        <p:spPr>
          <a:xfrm>
            <a:off x="506930" y="23907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Introduction</a:t>
            </a:r>
          </a:p>
        </p:txBody>
      </p:sp>
      <p:sp>
        <p:nvSpPr>
          <p:cNvPr id="6" name="Speech Bubble: Rectangle with Corners Rounded 5">
            <a:extLst>
              <a:ext uri="{FF2B5EF4-FFF2-40B4-BE49-F238E27FC236}">
                <a16:creationId xmlns:a16="http://schemas.microsoft.com/office/drawing/2014/main" id="{2D804F80-7683-FBEE-567C-007A73BD2499}"/>
              </a:ext>
            </a:extLst>
          </p:cNvPr>
          <p:cNvSpPr/>
          <p:nvPr/>
        </p:nvSpPr>
        <p:spPr>
          <a:xfrm>
            <a:off x="4999414" y="1049505"/>
            <a:ext cx="2267489" cy="843825"/>
          </a:xfrm>
          <a:prstGeom prst="wedgeRoundRectCallout">
            <a:avLst>
              <a:gd name="adj1" fmla="val 59593"/>
              <a:gd name="adj2" fmla="val 5742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t's explore how </a:t>
            </a:r>
            <a:r>
              <a:rPr lang="en-US" sz="14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intex</a:t>
            </a:r>
            <a:r>
              <a:rPr lang="en-US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ltratex</a:t>
            </a:r>
            <a:r>
              <a:rPr lang="en-US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an address the next challenge Farah is facing.</a:t>
            </a:r>
            <a:endParaRPr lang="en-US" sz="14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73EA1EB-2A6E-0966-3E12-D95D37B98F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39304" y="-2216"/>
            <a:ext cx="1604696" cy="514571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F23CD96-4777-63EE-8C01-20B053AD8D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32D1172-9EB7-40DD-B023-193A5244B2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0068858">
            <a:off x="970538" y="1558749"/>
            <a:ext cx="564700" cy="5647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E1188E9-9517-7F35-112F-66155D17E256}"/>
              </a:ext>
            </a:extLst>
          </p:cNvPr>
          <p:cNvSpPr txBox="1"/>
          <p:nvPr/>
        </p:nvSpPr>
        <p:spPr>
          <a:xfrm rot="20114476">
            <a:off x="1255780" y="1696219"/>
            <a:ext cx="222272" cy="2959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b="1" dirty="0"/>
              <a:t>6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AE824BF-DA46-29F5-2F6A-AE3DC8594B03}"/>
              </a:ext>
            </a:extLst>
          </p:cNvPr>
          <p:cNvSpPr txBox="1"/>
          <p:nvPr/>
        </p:nvSpPr>
        <p:spPr>
          <a:xfrm>
            <a:off x="2959701" y="4805116"/>
            <a:ext cx="4209690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i="1" dirty="0">
                <a:solidFill>
                  <a:srgbClr val="FFFFFF"/>
                </a:solidFill>
                <a:cs typeface="Arial"/>
              </a:rPr>
              <a:t>Click on the puzzle icon to hear Farah’s problem.</a:t>
            </a:r>
            <a:endParaRPr lang="en-US" sz="1400" b="1" i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149125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Free photo beautiful view of the interior of an old abandoned building">
            <a:extLst>
              <a:ext uri="{FF2B5EF4-FFF2-40B4-BE49-F238E27FC236}">
                <a16:creationId xmlns:a16="http://schemas.microsoft.com/office/drawing/2014/main" id="{500CD8B3-E1F3-EF76-7CFA-7AD18CC65D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7">
            <a:extLst>
              <a:ext uri="{FF2B5EF4-FFF2-40B4-BE49-F238E27FC236}">
                <a16:creationId xmlns:a16="http://schemas.microsoft.com/office/drawing/2014/main" id="{F975312D-1271-8907-D342-5126EF9D5B9C}"/>
              </a:ext>
            </a:extLst>
          </p:cNvPr>
          <p:cNvSpPr txBox="1">
            <a:spLocks/>
          </p:cNvSpPr>
          <p:nvPr/>
        </p:nvSpPr>
        <p:spPr>
          <a:xfrm>
            <a:off x="506930" y="23907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Problem Statemen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F23CD96-4777-63EE-8C01-20B053AD8D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sp>
        <p:nvSpPr>
          <p:cNvPr id="2" name="Speech Bubble: Rectangle with Corners Rounded 1">
            <a:extLst>
              <a:ext uri="{FF2B5EF4-FFF2-40B4-BE49-F238E27FC236}">
                <a16:creationId xmlns:a16="http://schemas.microsoft.com/office/drawing/2014/main" id="{69C34237-1381-655B-2F82-D329A519369B}"/>
              </a:ext>
            </a:extLst>
          </p:cNvPr>
          <p:cNvSpPr/>
          <p:nvPr/>
        </p:nvSpPr>
        <p:spPr>
          <a:xfrm>
            <a:off x="1558385" y="967066"/>
            <a:ext cx="3576323" cy="762378"/>
          </a:xfrm>
          <a:prstGeom prst="wedgeRoundRectCallout">
            <a:avLst>
              <a:gd name="adj1" fmla="val -56869"/>
              <a:gd name="adj2" fmla="val 12110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SG" sz="1800" kern="100" dirty="0">
                <a:effectLst/>
                <a:latin typeface="Calibri"/>
                <a:ea typeface="Calibri"/>
                <a:cs typeface="Calibri"/>
              </a:rPr>
              <a:t>My wall looks shabby. It is very dirty, peeling off </a:t>
            </a:r>
            <a:r>
              <a:rPr lang="en-SG" kern="100" dirty="0">
                <a:latin typeface="Calibri"/>
                <a:ea typeface="Calibri"/>
                <a:cs typeface="Calibri"/>
              </a:rPr>
              <a:t>here and there</a:t>
            </a:r>
            <a:r>
              <a:rPr lang="en-SG" sz="1800" kern="100" dirty="0">
                <a:effectLst/>
                <a:latin typeface="Calibri"/>
                <a:ea typeface="Calibri"/>
                <a:cs typeface="Calibri"/>
              </a:rPr>
              <a:t>.</a:t>
            </a:r>
            <a:r>
              <a:rPr lang="en-SG" kern="100" dirty="0">
                <a:latin typeface="Calibri"/>
                <a:ea typeface="Calibri"/>
                <a:cs typeface="Calibri"/>
              </a:rPr>
              <a:t> 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64067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Free photo beautiful view of the interior of an old abandoned building">
            <a:extLst>
              <a:ext uri="{FF2B5EF4-FFF2-40B4-BE49-F238E27FC236}">
                <a16:creationId xmlns:a16="http://schemas.microsoft.com/office/drawing/2014/main" id="{500CD8B3-E1F3-EF76-7CFA-7AD18CC65D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7">
            <a:extLst>
              <a:ext uri="{FF2B5EF4-FFF2-40B4-BE49-F238E27FC236}">
                <a16:creationId xmlns:a16="http://schemas.microsoft.com/office/drawing/2014/main" id="{F975312D-1271-8907-D342-5126EF9D5B9C}"/>
              </a:ext>
            </a:extLst>
          </p:cNvPr>
          <p:cNvSpPr txBox="1">
            <a:spLocks/>
          </p:cNvSpPr>
          <p:nvPr/>
        </p:nvSpPr>
        <p:spPr>
          <a:xfrm>
            <a:off x="506930" y="23907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Problem Statemen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F23CD96-4777-63EE-8C01-20B053AD8D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sp>
        <p:nvSpPr>
          <p:cNvPr id="2" name="Speech Bubble: Rectangle with Corners Rounded 1">
            <a:extLst>
              <a:ext uri="{FF2B5EF4-FFF2-40B4-BE49-F238E27FC236}">
                <a16:creationId xmlns:a16="http://schemas.microsoft.com/office/drawing/2014/main" id="{69C34237-1381-655B-2F82-D329A519369B}"/>
              </a:ext>
            </a:extLst>
          </p:cNvPr>
          <p:cNvSpPr/>
          <p:nvPr/>
        </p:nvSpPr>
        <p:spPr>
          <a:xfrm>
            <a:off x="1558385" y="967065"/>
            <a:ext cx="3576323" cy="1466645"/>
          </a:xfrm>
          <a:prstGeom prst="wedgeRoundRectCallout">
            <a:avLst>
              <a:gd name="adj1" fmla="val -56082"/>
              <a:gd name="adj2" fmla="val 6739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ue to budget issues, I postponed repainting this too earlier. Now I must repaint it soon, therefore I need an affordable paint. 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82033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lean windows empty white house blank">
            <a:extLst>
              <a:ext uri="{FF2B5EF4-FFF2-40B4-BE49-F238E27FC236}">
                <a16:creationId xmlns:a16="http://schemas.microsoft.com/office/drawing/2014/main" id="{3091DB62-DE09-81C8-F0C4-4562A651F8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7">
            <a:extLst>
              <a:ext uri="{FF2B5EF4-FFF2-40B4-BE49-F238E27FC236}">
                <a16:creationId xmlns:a16="http://schemas.microsoft.com/office/drawing/2014/main" id="{25860F81-8496-B79B-188C-D165EC4E01BD}"/>
              </a:ext>
            </a:extLst>
          </p:cNvPr>
          <p:cNvSpPr txBox="1">
            <a:spLocks/>
          </p:cNvSpPr>
          <p:nvPr/>
        </p:nvSpPr>
        <p:spPr>
          <a:xfrm>
            <a:off x="506930" y="23907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>
                <a:solidFill>
                  <a:schemeClr val="tx1"/>
                </a:solidFill>
                <a:latin typeface="Colour Sans" panose="02000503030000020004" pitchFamily="2" charset="0"/>
              </a:rPr>
              <a:t>Introduc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F1CEEB-85A0-8522-0F9B-85C9BDBD35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sp>
        <p:nvSpPr>
          <p:cNvPr id="2" name="Speech Bubble: Rectangle with Corners Rounded 1">
            <a:extLst>
              <a:ext uri="{FF2B5EF4-FFF2-40B4-BE49-F238E27FC236}">
                <a16:creationId xmlns:a16="http://schemas.microsoft.com/office/drawing/2014/main" id="{8992E2F4-EA8C-6E07-4131-2D92CB742486}"/>
              </a:ext>
            </a:extLst>
          </p:cNvPr>
          <p:cNvSpPr/>
          <p:nvPr/>
        </p:nvSpPr>
        <p:spPr>
          <a:xfrm>
            <a:off x="2108454" y="1149510"/>
            <a:ext cx="3644645" cy="1005840"/>
          </a:xfrm>
          <a:prstGeom prst="wedgeRoundRectCallout">
            <a:avLst>
              <a:gd name="adj1" fmla="val -78976"/>
              <a:gd name="adj2" fmla="val 57044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en-US" sz="1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y house is plagued by a multitude of interior wall problems. The once-charming walls now appear dull and worn out. What should I do?</a:t>
            </a:r>
          </a:p>
        </p:txBody>
      </p:sp>
    </p:spTree>
    <p:extLst>
      <p:ext uri="{BB962C8B-B14F-4D97-AF65-F5344CB8AC3E}">
        <p14:creationId xmlns:p14="http://schemas.microsoft.com/office/powerpoint/2010/main" val="211381167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Trending Paint Colour Ideas for home décor">
            <a:extLst>
              <a:ext uri="{FF2B5EF4-FFF2-40B4-BE49-F238E27FC236}">
                <a16:creationId xmlns:a16="http://schemas.microsoft.com/office/drawing/2014/main" id="{8C4E6D85-0969-176D-2297-E0C18ECD03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7">
            <a:extLst>
              <a:ext uri="{FF2B5EF4-FFF2-40B4-BE49-F238E27FC236}">
                <a16:creationId xmlns:a16="http://schemas.microsoft.com/office/drawing/2014/main" id="{5F451EA9-1753-63AD-DA8E-1D4E96005822}"/>
              </a:ext>
            </a:extLst>
          </p:cNvPr>
          <p:cNvSpPr txBox="1">
            <a:spLocks/>
          </p:cNvSpPr>
          <p:nvPr/>
        </p:nvSpPr>
        <p:spPr>
          <a:xfrm>
            <a:off x="506930" y="23907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rgbClr val="005192"/>
                </a:solidFill>
                <a:latin typeface="Colour Sans"/>
              </a:rPr>
              <a:t>Solution</a:t>
            </a:r>
          </a:p>
        </p:txBody>
      </p:sp>
      <p:pic>
        <p:nvPicPr>
          <p:cNvPr id="4" name="Picture 3" descr="A purple bucket of paint&#10;&#10;Description automatically generated">
            <a:extLst>
              <a:ext uri="{FF2B5EF4-FFF2-40B4-BE49-F238E27FC236}">
                <a16:creationId xmlns:a16="http://schemas.microsoft.com/office/drawing/2014/main" id="{DB0ADE6C-FCDC-7C70-6A3D-865F838698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23094" y="2553866"/>
            <a:ext cx="1792149" cy="1811099"/>
          </a:xfrm>
          <a:prstGeom prst="rect">
            <a:avLst/>
          </a:prstGeom>
        </p:spPr>
      </p:pic>
      <p:sp>
        <p:nvSpPr>
          <p:cNvPr id="6" name="Speech Bubble: Rectangle with Corners Rounded 5">
            <a:extLst>
              <a:ext uri="{FF2B5EF4-FFF2-40B4-BE49-F238E27FC236}">
                <a16:creationId xmlns:a16="http://schemas.microsoft.com/office/drawing/2014/main" id="{399E988F-06DC-68DB-E28A-D18804EE618C}"/>
              </a:ext>
            </a:extLst>
          </p:cNvPr>
          <p:cNvSpPr/>
          <p:nvPr/>
        </p:nvSpPr>
        <p:spPr>
          <a:xfrm>
            <a:off x="4999414" y="1049505"/>
            <a:ext cx="2267489" cy="843825"/>
          </a:xfrm>
          <a:prstGeom prst="wedgeRoundRectCallout">
            <a:avLst>
              <a:gd name="adj1" fmla="val 59593"/>
              <a:gd name="adj2" fmla="val 5742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SG" sz="1200" kern="100" dirty="0" err="1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Paintex</a:t>
            </a:r>
            <a:r>
              <a:rPr lang="en-SG" sz="1200" kern="100" dirty="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 </a:t>
            </a:r>
            <a:r>
              <a:rPr lang="en-SG" sz="1200" kern="100" dirty="0" err="1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Ultratex</a:t>
            </a:r>
            <a:r>
              <a:rPr lang="en-SG" sz="1200" kern="100" dirty="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 </a:t>
            </a:r>
            <a:r>
              <a:rPr lang="en-US" sz="1200" kern="100" dirty="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is the perfect choice for Farah’s concern. Let's explore </a:t>
            </a:r>
            <a:r>
              <a:rPr lang="en-US" sz="1200" kern="100" dirty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the benefits </a:t>
            </a:r>
            <a:r>
              <a:rPr lang="en-US" sz="1200" kern="100" dirty="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it offers</a:t>
            </a:r>
            <a:r>
              <a:rPr lang="en-US" sz="1200" kern="100" dirty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.</a:t>
            </a:r>
            <a:r>
              <a:rPr lang="en-US" sz="1200" kern="100" dirty="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 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434350-5997-8C31-B3B7-5A14E4465A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39304" y="-2216"/>
            <a:ext cx="1604696" cy="5145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91134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aint roller and paint tray on the floor&#10;&#10;Description automatically generated">
            <a:extLst>
              <a:ext uri="{FF2B5EF4-FFF2-40B4-BE49-F238E27FC236}">
                <a16:creationId xmlns:a16="http://schemas.microsoft.com/office/drawing/2014/main" id="{D9B3C37A-9E5F-B9BE-6E21-B2850705A3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5288" y="-2215"/>
            <a:ext cx="9191444" cy="5147929"/>
          </a:xfrm>
          <a:prstGeom prst="rect">
            <a:avLst/>
          </a:prstGeom>
        </p:spPr>
      </p:pic>
      <p:sp>
        <p:nvSpPr>
          <p:cNvPr id="6" name="Title 7">
            <a:extLst>
              <a:ext uri="{FF2B5EF4-FFF2-40B4-BE49-F238E27FC236}">
                <a16:creationId xmlns:a16="http://schemas.microsoft.com/office/drawing/2014/main" id="{DD4BCD5E-8813-907F-256E-1B262859E09C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>
                <a:latin typeface="Colour Sans" panose="02000503030000020004" pitchFamily="2" charset="0"/>
              </a:rPr>
              <a:t>Benefit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EA7D30E-A59A-C0D3-6995-271410C9221E}"/>
              </a:ext>
            </a:extLst>
          </p:cNvPr>
          <p:cNvSpPr/>
          <p:nvPr/>
        </p:nvSpPr>
        <p:spPr>
          <a:xfrm>
            <a:off x="2718431" y="2188262"/>
            <a:ext cx="2064570" cy="37347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Chalk resistive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C372FC9-7E52-E3BA-09AC-7E157D9432C3}"/>
              </a:ext>
            </a:extLst>
          </p:cNvPr>
          <p:cNvSpPr/>
          <p:nvPr/>
        </p:nvSpPr>
        <p:spPr>
          <a:xfrm>
            <a:off x="1686146" y="2854952"/>
            <a:ext cx="2064570" cy="37347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Cost-effective 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5A60918-C829-9927-23FC-DE4485266E1A}"/>
              </a:ext>
            </a:extLst>
          </p:cNvPr>
          <p:cNvSpPr/>
          <p:nvPr/>
        </p:nvSpPr>
        <p:spPr>
          <a:xfrm>
            <a:off x="4208297" y="1524053"/>
            <a:ext cx="1669041" cy="586571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kern="100" dirty="0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Simple and convenient</a:t>
            </a:r>
            <a:r>
              <a:rPr lang="en-GB" sz="1800" kern="100" dirty="0">
                <a:solidFill>
                  <a:schemeClr val="tx1"/>
                </a:solidFill>
                <a:effectLst/>
                <a:latin typeface="Calibri"/>
                <a:ea typeface="Calibri"/>
                <a:cs typeface="Times New Roman"/>
              </a:rPr>
              <a:t> </a:t>
            </a:r>
            <a:endParaRPr lang="en-US" dirty="0">
              <a:solidFill>
                <a:schemeClr val="tx1"/>
              </a:solidFill>
              <a:latin typeface="Calibri"/>
              <a:ea typeface="Calibri"/>
              <a:cs typeface="Times New Roman"/>
            </a:endParaRPr>
          </a:p>
        </p:txBody>
      </p:sp>
      <p:pic>
        <p:nvPicPr>
          <p:cNvPr id="20" name="Picture 19" descr="A purple bucket of paint&#10;&#10;Description automatically generated">
            <a:extLst>
              <a:ext uri="{FF2B5EF4-FFF2-40B4-BE49-F238E27FC236}">
                <a16:creationId xmlns:a16="http://schemas.microsoft.com/office/drawing/2014/main" id="{7D935514-CAAB-3E49-0B24-137B33C7B8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87004" y="3041687"/>
            <a:ext cx="1792149" cy="1811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240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6C258DA-6E3E-E0EF-3E93-775756D0BC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4"/>
            <a:ext cx="9144000" cy="5140372"/>
          </a:xfrm>
          <a:prstGeom prst="rect">
            <a:avLst/>
          </a:prstGeom>
        </p:spPr>
      </p:pic>
      <p:sp>
        <p:nvSpPr>
          <p:cNvPr id="3" name="Speech Bubble: Rectangle with Corners Rounded 2">
            <a:extLst>
              <a:ext uri="{FF2B5EF4-FFF2-40B4-BE49-F238E27FC236}">
                <a16:creationId xmlns:a16="http://schemas.microsoft.com/office/drawing/2014/main" id="{BA87ED00-FD82-B085-6C29-B70F70DB01C3}"/>
              </a:ext>
            </a:extLst>
          </p:cNvPr>
          <p:cNvSpPr/>
          <p:nvPr/>
        </p:nvSpPr>
        <p:spPr>
          <a:xfrm>
            <a:off x="3401048" y="472492"/>
            <a:ext cx="3696240" cy="1101001"/>
          </a:xfrm>
          <a:prstGeom prst="wedgeRoundRectCallout">
            <a:avLst>
              <a:gd name="adj1" fmla="val 59593"/>
              <a:gd name="adj2" fmla="val 5742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SG" sz="1600" kern="100" dirty="0" err="1">
                <a:effectLst/>
                <a:latin typeface="Calibri"/>
                <a:ea typeface="Calibri"/>
                <a:cs typeface="Times New Roman"/>
              </a:rPr>
              <a:t>Paintex</a:t>
            </a:r>
            <a:r>
              <a:rPr lang="en-SG" sz="1600" kern="100" dirty="0">
                <a:effectLst/>
                <a:latin typeface="Calibri"/>
                <a:ea typeface="Calibri"/>
                <a:cs typeface="Times New Roman"/>
              </a:rPr>
              <a:t> </a:t>
            </a:r>
            <a:r>
              <a:rPr lang="en-SG" sz="1600" kern="100" dirty="0" err="1">
                <a:effectLst/>
                <a:latin typeface="Calibri"/>
                <a:ea typeface="Calibri"/>
                <a:cs typeface="Times New Roman"/>
              </a:rPr>
              <a:t>Ultratex</a:t>
            </a:r>
            <a:r>
              <a:rPr lang="en-SG" sz="1600" kern="100" dirty="0">
                <a:effectLst/>
                <a:latin typeface="Calibri"/>
                <a:ea typeface="Calibri"/>
                <a:cs typeface="Times New Roman"/>
              </a:rPr>
              <a:t> </a:t>
            </a:r>
            <a:r>
              <a:rPr lang="en-US" sz="1600" kern="100" dirty="0">
                <a:effectLst/>
                <a:latin typeface="Calibri"/>
                <a:ea typeface="Calibri"/>
                <a:cs typeface="Calibri"/>
              </a:rPr>
              <a:t>has unique characteristics that make it stand out. Let's explore these distinctive features.</a:t>
            </a:r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95CEA240-3268-842A-77C6-06DE7B0977AD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Featur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24D2616-891C-EC19-89A6-F6AF83E787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39304" y="-2216"/>
            <a:ext cx="1604696" cy="5145715"/>
          </a:xfrm>
          <a:prstGeom prst="rect">
            <a:avLst/>
          </a:prstGeom>
        </p:spPr>
      </p:pic>
      <p:pic>
        <p:nvPicPr>
          <p:cNvPr id="7" name="Picture 6" descr="A purple bucket of paint&#10;&#10;Description automatically generated">
            <a:extLst>
              <a:ext uri="{FF2B5EF4-FFF2-40B4-BE49-F238E27FC236}">
                <a16:creationId xmlns:a16="http://schemas.microsoft.com/office/drawing/2014/main" id="{8D1EDFAE-A102-8B2E-F3D4-D4E824E1F7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04973" y="2044421"/>
            <a:ext cx="1792149" cy="1811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93761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4B37308-9BA1-B6BB-28F2-DE1579433C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4"/>
            <a:ext cx="9144000" cy="5140372"/>
          </a:xfrm>
          <a:prstGeom prst="rect">
            <a:avLst/>
          </a:prstGeom>
        </p:spPr>
      </p:pic>
      <p:sp>
        <p:nvSpPr>
          <p:cNvPr id="3" name="Title 7">
            <a:extLst>
              <a:ext uri="{FF2B5EF4-FFF2-40B4-BE49-F238E27FC236}">
                <a16:creationId xmlns:a16="http://schemas.microsoft.com/office/drawing/2014/main" id="{EC49133C-C78F-26D2-768E-7C81F1AF33CD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Features</a:t>
            </a:r>
          </a:p>
        </p:txBody>
      </p:sp>
      <p:pic>
        <p:nvPicPr>
          <p:cNvPr id="4" name="Picture 3" descr="A paint roller with orange paint&#10;&#10;Description automatically generated">
            <a:extLst>
              <a:ext uri="{FF2B5EF4-FFF2-40B4-BE49-F238E27FC236}">
                <a16:creationId xmlns:a16="http://schemas.microsoft.com/office/drawing/2014/main" id="{6D5C390E-8E7D-4169-39EA-0E4E476419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6304" y="939855"/>
            <a:ext cx="741308" cy="74130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989093E-4607-7059-3DF8-7338727473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87314" y="981075"/>
            <a:ext cx="706821" cy="706821"/>
          </a:xfrm>
          <a:prstGeom prst="rect">
            <a:avLst/>
          </a:prstGeom>
        </p:spPr>
      </p:pic>
      <p:pic>
        <p:nvPicPr>
          <p:cNvPr id="6" name="Picture 5" descr="A blue and white circles&#10;&#10;Description automatically generated">
            <a:extLst>
              <a:ext uri="{FF2B5EF4-FFF2-40B4-BE49-F238E27FC236}">
                <a16:creationId xmlns:a16="http://schemas.microsoft.com/office/drawing/2014/main" id="{94E1B38C-8337-FBFD-94B3-2A9D7A7055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08674" y="944781"/>
            <a:ext cx="738681" cy="738681"/>
          </a:xfrm>
          <a:prstGeom prst="rect">
            <a:avLst/>
          </a:prstGeom>
        </p:spPr>
      </p:pic>
      <p:pic>
        <p:nvPicPr>
          <p:cNvPr id="8" name="Picture 7" descr="A paint brush with a pink paint dripping&#10;&#10;Description automatically generated">
            <a:extLst>
              <a:ext uri="{FF2B5EF4-FFF2-40B4-BE49-F238E27FC236}">
                <a16:creationId xmlns:a16="http://schemas.microsoft.com/office/drawing/2014/main" id="{C2095EE7-0E92-9625-B9B9-5773BF0E8C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3812" y="3285797"/>
            <a:ext cx="640146" cy="630621"/>
          </a:xfrm>
          <a:prstGeom prst="rect">
            <a:avLst/>
          </a:prstGeom>
        </p:spPr>
      </p:pic>
      <p:pic>
        <p:nvPicPr>
          <p:cNvPr id="9" name="Picture 8" descr="A yellow bucket with red paint&#10;&#10;Description automatically generated">
            <a:extLst>
              <a:ext uri="{FF2B5EF4-FFF2-40B4-BE49-F238E27FC236}">
                <a16:creationId xmlns:a16="http://schemas.microsoft.com/office/drawing/2014/main" id="{02A8BE6C-A8FA-4056-5831-7D97B2FDB10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73828" y="3304518"/>
            <a:ext cx="669707" cy="6697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6B1816E-30E5-2A7F-F388-E431A792BAC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77693" y="3348859"/>
            <a:ext cx="537999" cy="557705"/>
          </a:xfrm>
          <a:prstGeom prst="rect">
            <a:avLst/>
          </a:prstGeom>
        </p:spPr>
      </p:pic>
      <p:pic>
        <p:nvPicPr>
          <p:cNvPr id="12" name="Picture 11" descr="A clock with arrows pointing to the left&#10;&#10;Description automatically generated">
            <a:extLst>
              <a:ext uri="{FF2B5EF4-FFF2-40B4-BE49-F238E27FC236}">
                <a16:creationId xmlns:a16="http://schemas.microsoft.com/office/drawing/2014/main" id="{D78E2754-6462-D962-977F-ADAEC5AF3AB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25379" y="3051777"/>
            <a:ext cx="942975" cy="942975"/>
          </a:xfrm>
          <a:prstGeom prst="rect">
            <a:avLst/>
          </a:prstGeom>
        </p:spPr>
      </p:pic>
      <p:pic>
        <p:nvPicPr>
          <p:cNvPr id="20" name="Picture 19" descr="A colorful circle with a black background&#10;&#10;Description automatically generated">
            <a:extLst>
              <a:ext uri="{FF2B5EF4-FFF2-40B4-BE49-F238E27FC236}">
                <a16:creationId xmlns:a16="http://schemas.microsoft.com/office/drawing/2014/main" id="{9B5DD4FA-F8BB-9DE8-5A19-A5475668064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484905" y="845732"/>
            <a:ext cx="778751" cy="778751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3DB86C2-B02C-905F-E50F-8AF6655A5FFC}"/>
              </a:ext>
            </a:extLst>
          </p:cNvPr>
          <p:cNvSpPr txBox="1"/>
          <p:nvPr/>
        </p:nvSpPr>
        <p:spPr>
          <a:xfrm>
            <a:off x="5343535" y="3994752"/>
            <a:ext cx="3293601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i="1" kern="100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ck on each icon to learn more.</a:t>
            </a:r>
            <a:endParaRPr lang="en-US" sz="1800" kern="100" dirty="0">
              <a:solidFill>
                <a:srgbClr val="C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822923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4B37308-9BA1-B6BB-28F2-DE1579433C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4"/>
            <a:ext cx="9144000" cy="5140372"/>
          </a:xfrm>
          <a:prstGeom prst="rect">
            <a:avLst/>
          </a:prstGeom>
        </p:spPr>
      </p:pic>
      <p:sp>
        <p:nvSpPr>
          <p:cNvPr id="3" name="Title 7">
            <a:extLst>
              <a:ext uri="{FF2B5EF4-FFF2-40B4-BE49-F238E27FC236}">
                <a16:creationId xmlns:a16="http://schemas.microsoft.com/office/drawing/2014/main" id="{EC49133C-C78F-26D2-768E-7C81F1AF33CD}"/>
              </a:ext>
            </a:extLst>
          </p:cNvPr>
          <p:cNvSpPr txBox="1">
            <a:spLocks/>
          </p:cNvSpPr>
          <p:nvPr/>
        </p:nvSpPr>
        <p:spPr>
          <a:xfrm>
            <a:off x="506930" y="2176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Features</a:t>
            </a:r>
          </a:p>
        </p:txBody>
      </p:sp>
      <p:pic>
        <p:nvPicPr>
          <p:cNvPr id="4" name="Picture 3" descr="A paint roller with orange paint&#10;&#10;Description automatically generated">
            <a:extLst>
              <a:ext uri="{FF2B5EF4-FFF2-40B4-BE49-F238E27FC236}">
                <a16:creationId xmlns:a16="http://schemas.microsoft.com/office/drawing/2014/main" id="{6D5C390E-8E7D-4169-39EA-0E4E476419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6304" y="939855"/>
            <a:ext cx="741308" cy="74130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989093E-4607-7059-3DF8-7338727473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87314" y="981075"/>
            <a:ext cx="706821" cy="706821"/>
          </a:xfrm>
          <a:prstGeom prst="rect">
            <a:avLst/>
          </a:prstGeom>
        </p:spPr>
      </p:pic>
      <p:pic>
        <p:nvPicPr>
          <p:cNvPr id="6" name="Picture 5" descr="A blue and white circles&#10;&#10;Description automatically generated">
            <a:extLst>
              <a:ext uri="{FF2B5EF4-FFF2-40B4-BE49-F238E27FC236}">
                <a16:creationId xmlns:a16="http://schemas.microsoft.com/office/drawing/2014/main" id="{94E1B38C-8337-FBFD-94B3-2A9D7A7055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08674" y="944781"/>
            <a:ext cx="738681" cy="738681"/>
          </a:xfrm>
          <a:prstGeom prst="rect">
            <a:avLst/>
          </a:prstGeom>
        </p:spPr>
      </p:pic>
      <p:pic>
        <p:nvPicPr>
          <p:cNvPr id="8" name="Picture 7" descr="A paint brush with a pink paint dripping&#10;&#10;Description automatically generated">
            <a:extLst>
              <a:ext uri="{FF2B5EF4-FFF2-40B4-BE49-F238E27FC236}">
                <a16:creationId xmlns:a16="http://schemas.microsoft.com/office/drawing/2014/main" id="{C2095EE7-0E92-9625-B9B9-5773BF0E8C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3812" y="3285797"/>
            <a:ext cx="640146" cy="630621"/>
          </a:xfrm>
          <a:prstGeom prst="rect">
            <a:avLst/>
          </a:prstGeom>
        </p:spPr>
      </p:pic>
      <p:pic>
        <p:nvPicPr>
          <p:cNvPr id="9" name="Picture 8" descr="A yellow bucket with red paint&#10;&#10;Description automatically generated">
            <a:extLst>
              <a:ext uri="{FF2B5EF4-FFF2-40B4-BE49-F238E27FC236}">
                <a16:creationId xmlns:a16="http://schemas.microsoft.com/office/drawing/2014/main" id="{02A8BE6C-A8FA-4056-5831-7D97B2FDB10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73828" y="3304518"/>
            <a:ext cx="669707" cy="6697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6B1816E-30E5-2A7F-F388-E431A792BAC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77693" y="3348859"/>
            <a:ext cx="537999" cy="557705"/>
          </a:xfrm>
          <a:prstGeom prst="rect">
            <a:avLst/>
          </a:prstGeom>
        </p:spPr>
      </p:pic>
      <p:pic>
        <p:nvPicPr>
          <p:cNvPr id="12" name="Picture 11" descr="A clock with arrows pointing to the left&#10;&#10;Description automatically generated">
            <a:extLst>
              <a:ext uri="{FF2B5EF4-FFF2-40B4-BE49-F238E27FC236}">
                <a16:creationId xmlns:a16="http://schemas.microsoft.com/office/drawing/2014/main" id="{D78E2754-6462-D962-977F-ADAEC5AF3AB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379423" y="2973443"/>
            <a:ext cx="942975" cy="942975"/>
          </a:xfrm>
          <a:prstGeom prst="rect">
            <a:avLst/>
          </a:prstGeom>
        </p:spPr>
      </p:pic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D5CEB98F-49FC-49AE-CAA7-DA62464F207C}"/>
              </a:ext>
            </a:extLst>
          </p:cNvPr>
          <p:cNvSpPr/>
          <p:nvPr/>
        </p:nvSpPr>
        <p:spPr>
          <a:xfrm>
            <a:off x="449290" y="1787558"/>
            <a:ext cx="1145128" cy="49534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tt finish</a:t>
            </a:r>
            <a:endParaRPr lang="en-GB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3634157-F8AF-CD59-77F5-11E2AF8611EB}"/>
              </a:ext>
            </a:extLst>
          </p:cNvPr>
          <p:cNvSpPr/>
          <p:nvPr/>
        </p:nvSpPr>
        <p:spPr>
          <a:xfrm>
            <a:off x="2187678" y="1782668"/>
            <a:ext cx="1134720" cy="50023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 – 12 m</a:t>
            </a:r>
            <a:r>
              <a:rPr lang="en-US" sz="1400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L  Coverage</a:t>
            </a:r>
            <a:endParaRPr lang="en-GB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D02676D-9EFA-7E16-8EFB-281EDA6D6D7D}"/>
              </a:ext>
            </a:extLst>
          </p:cNvPr>
          <p:cNvSpPr/>
          <p:nvPr/>
        </p:nvSpPr>
        <p:spPr>
          <a:xfrm>
            <a:off x="3970405" y="4068900"/>
            <a:ext cx="1731416" cy="47483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 kg and 24 Kg Available Sizes</a:t>
            </a:r>
            <a:endParaRPr lang="en-GB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E637A1BF-04EA-6EB5-D99C-5C71A79EC35A}"/>
              </a:ext>
            </a:extLst>
          </p:cNvPr>
          <p:cNvSpPr/>
          <p:nvPr/>
        </p:nvSpPr>
        <p:spPr>
          <a:xfrm>
            <a:off x="2018427" y="4072882"/>
            <a:ext cx="1664966" cy="49534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ng-Lasting Durability of 1-2 years </a:t>
            </a:r>
            <a:endParaRPr lang="en-GB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571399BB-87B6-AA53-443D-6B1D9F7EF9F1}"/>
              </a:ext>
            </a:extLst>
          </p:cNvPr>
          <p:cNvSpPr/>
          <p:nvPr/>
        </p:nvSpPr>
        <p:spPr>
          <a:xfrm>
            <a:off x="3685401" y="1737832"/>
            <a:ext cx="1150712" cy="49534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Basic Opacity</a:t>
            </a:r>
            <a:endParaRPr lang="en-GB" sz="1400" dirty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2B98F59B-A6DD-B28A-814E-868EE63986A5}"/>
              </a:ext>
            </a:extLst>
          </p:cNvPr>
          <p:cNvSpPr/>
          <p:nvPr/>
        </p:nvSpPr>
        <p:spPr>
          <a:xfrm>
            <a:off x="261629" y="4068900"/>
            <a:ext cx="1520450" cy="74283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Basic </a:t>
            </a:r>
            <a:r>
              <a:rPr lang="en-US" sz="1400" dirty="0" err="1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Colour</a:t>
            </a:r>
            <a:r>
              <a:rPr lang="en-US" sz="1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 Protection and </a:t>
            </a:r>
            <a:r>
              <a:rPr lang="en-US" sz="1400" dirty="0" err="1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Colour</a:t>
            </a:r>
            <a:r>
              <a:rPr lang="en-US" sz="1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 Fastness</a:t>
            </a:r>
            <a:endParaRPr lang="en-GB" sz="1400" dirty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20" name="Picture 19" descr="A colorful circle with a black background&#10;&#10;Description automatically generated">
            <a:extLst>
              <a:ext uri="{FF2B5EF4-FFF2-40B4-BE49-F238E27FC236}">
                <a16:creationId xmlns:a16="http://schemas.microsoft.com/office/drawing/2014/main" id="{9B5DD4FA-F8BB-9DE8-5A19-A5475668064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484905" y="845732"/>
            <a:ext cx="778751" cy="778751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65FF125-7FBF-94E5-768E-B21654A4FC3B}"/>
              </a:ext>
            </a:extLst>
          </p:cNvPr>
          <p:cNvSpPr/>
          <p:nvPr/>
        </p:nvSpPr>
        <p:spPr>
          <a:xfrm>
            <a:off x="5199995" y="1758344"/>
            <a:ext cx="1386438" cy="47483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3 ready mixed colours </a:t>
            </a:r>
            <a:endParaRPr lang="en-GB" sz="1400" dirty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5633588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ree photo beautiful view of the interior of an old abandoned building">
            <a:extLst>
              <a:ext uri="{FF2B5EF4-FFF2-40B4-BE49-F238E27FC236}">
                <a16:creationId xmlns:a16="http://schemas.microsoft.com/office/drawing/2014/main" id="{C3552374-A595-1C4A-9484-22D9089BE2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itle 7">
            <a:extLst>
              <a:ext uri="{FF2B5EF4-FFF2-40B4-BE49-F238E27FC236}">
                <a16:creationId xmlns:a16="http://schemas.microsoft.com/office/drawing/2014/main" id="{5110E29B-A9FF-78D7-2A73-758C9A1563C7}"/>
              </a:ext>
            </a:extLst>
          </p:cNvPr>
          <p:cNvSpPr txBox="1">
            <a:spLocks/>
          </p:cNvSpPr>
          <p:nvPr/>
        </p:nvSpPr>
        <p:spPr>
          <a:xfrm>
            <a:off x="506930" y="23907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Result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E3427B3-9B04-A422-2759-E43AAA2DA1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  <p:pic>
        <p:nvPicPr>
          <p:cNvPr id="23" name="Picture 22" descr="A purple bucket of paint&#10;&#10;Description automatically generated">
            <a:extLst>
              <a:ext uri="{FF2B5EF4-FFF2-40B4-BE49-F238E27FC236}">
                <a16:creationId xmlns:a16="http://schemas.microsoft.com/office/drawing/2014/main" id="{1E1EBE78-2043-A8E8-B310-F73B8F51B4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92233" y="2285961"/>
            <a:ext cx="1792149" cy="18110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236E26E-0171-6724-FFA3-A49E038EFAF0}"/>
              </a:ext>
            </a:extLst>
          </p:cNvPr>
          <p:cNvSpPr txBox="1"/>
          <p:nvPr/>
        </p:nvSpPr>
        <p:spPr>
          <a:xfrm>
            <a:off x="3150515" y="957504"/>
            <a:ext cx="5990094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>
                <a:solidFill>
                  <a:srgbClr val="FFFFFF"/>
                </a:solidFill>
                <a:cs typeface="Arial"/>
              </a:rPr>
              <a:t>Enjoy </a:t>
            </a:r>
            <a:r>
              <a:rPr lang="en-US" sz="1600" b="1" dirty="0">
                <a:solidFill>
                  <a:srgbClr val="FFFFFF"/>
                </a:solidFill>
                <a:cs typeface="Arial"/>
              </a:rPr>
              <a:t>stain free</a:t>
            </a:r>
            <a:r>
              <a:rPr lang="en-US" sz="1600" dirty="0">
                <a:solidFill>
                  <a:srgbClr val="FFFFFF"/>
                </a:solidFill>
                <a:cs typeface="Arial"/>
              </a:rPr>
              <a:t> walls and </a:t>
            </a:r>
            <a:r>
              <a:rPr lang="en-US" sz="1600" b="1" dirty="0">
                <a:solidFill>
                  <a:srgbClr val="FFFFFF"/>
                </a:solidFill>
                <a:cs typeface="Arial"/>
              </a:rPr>
              <a:t>radiant beauty</a:t>
            </a:r>
            <a:r>
              <a:rPr lang="en-US" sz="1600" dirty="0">
                <a:solidFill>
                  <a:srgbClr val="FFFFFF"/>
                </a:solidFill>
                <a:cs typeface="Arial"/>
              </a:rPr>
              <a:t> with </a:t>
            </a:r>
            <a:r>
              <a:rPr lang="en-US" sz="1600" dirty="0" err="1">
                <a:solidFill>
                  <a:srgbClr val="FFFFFF"/>
                </a:solidFill>
                <a:cs typeface="Arial"/>
              </a:rPr>
              <a:t>Paintex</a:t>
            </a:r>
            <a:r>
              <a:rPr lang="en-US" sz="1600" dirty="0">
                <a:solidFill>
                  <a:srgbClr val="FFFFFF"/>
                </a:solidFill>
                <a:cs typeface="Arial"/>
              </a:rPr>
              <a:t> </a:t>
            </a:r>
            <a:r>
              <a:rPr lang="en-US" sz="1600" dirty="0" err="1">
                <a:solidFill>
                  <a:srgbClr val="FFFFFF"/>
                </a:solidFill>
                <a:cs typeface="Arial"/>
              </a:rPr>
              <a:t>Ultratex</a:t>
            </a:r>
            <a:r>
              <a:rPr lang="en-US" sz="1600" dirty="0">
                <a:solidFill>
                  <a:srgbClr val="FFFFFF"/>
                </a:solidFill>
                <a:cs typeface="Arial"/>
              </a:rPr>
              <a:t>.</a:t>
            </a:r>
            <a:endParaRPr lang="en-US" sz="1600" b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46446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living room with a couch and a table&#10;&#10;Description automatically generated">
            <a:extLst>
              <a:ext uri="{FF2B5EF4-FFF2-40B4-BE49-F238E27FC236}">
                <a16:creationId xmlns:a16="http://schemas.microsoft.com/office/drawing/2014/main" id="{23DF8FB9-8865-3718-5887-19CB3B8A52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490"/>
            <a:ext cx="9153525" cy="5154005"/>
          </a:xfrm>
          <a:prstGeom prst="rect">
            <a:avLst/>
          </a:prstGeom>
        </p:spPr>
      </p:pic>
      <p:sp>
        <p:nvSpPr>
          <p:cNvPr id="3" name="Title 7">
            <a:extLst>
              <a:ext uri="{FF2B5EF4-FFF2-40B4-BE49-F238E27FC236}">
                <a16:creationId xmlns:a16="http://schemas.microsoft.com/office/drawing/2014/main" id="{1818AB22-F5AA-50BB-2C51-B8342BC325CC}"/>
              </a:ext>
            </a:extLst>
          </p:cNvPr>
          <p:cNvSpPr txBox="1">
            <a:spLocks/>
          </p:cNvSpPr>
          <p:nvPr/>
        </p:nvSpPr>
        <p:spPr>
          <a:xfrm>
            <a:off x="259280" y="14146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>
                <a:solidFill>
                  <a:srgbClr val="FFFFFF"/>
                </a:solidFill>
                <a:latin typeface="Colour Sans" panose="02000503030000020004" pitchFamily="2" charset="0"/>
              </a:rPr>
              <a:t>Conclus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681202D-E55B-5D95-D461-17B36251FE5D}"/>
              </a:ext>
            </a:extLst>
          </p:cNvPr>
          <p:cNvSpPr txBox="1"/>
          <p:nvPr/>
        </p:nvSpPr>
        <p:spPr>
          <a:xfrm>
            <a:off x="1096803" y="1004887"/>
            <a:ext cx="6147434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i="1" u="none" strike="noStrike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Dulux Interior Wall Paints gave Farah the</a:t>
            </a:r>
            <a:r>
              <a:rPr lang="en-US" b="1" i="1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 house she desired for.</a:t>
            </a:r>
            <a:endParaRPr lang="en-US" sz="1400" b="1" i="1" dirty="0"/>
          </a:p>
        </p:txBody>
      </p:sp>
      <p:pic>
        <p:nvPicPr>
          <p:cNvPr id="6" name="Picture 5" descr="A cartoon of a person&#10;&#10;Description automatically generated">
            <a:extLst>
              <a:ext uri="{FF2B5EF4-FFF2-40B4-BE49-F238E27FC236}">
                <a16:creationId xmlns:a16="http://schemas.microsoft.com/office/drawing/2014/main" id="{4A715A54-F400-58B0-ACC5-6FB233CEFD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729444"/>
            <a:ext cx="1257409" cy="341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27194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87A4A5-FFBE-4F31-A450-A656538F2A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dirty="0" smtClean="0"/>
              <a:pPr>
                <a:defRPr/>
              </a:pPr>
              <a:t>67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F1437B-3CD0-58F0-7433-1AB23B0E97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Business unit | Foot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E07BD7-AB70-31EB-90D6-E5F6C05EA41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6022730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0350851-758B-9B6B-A1D2-2FD40550E7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972660" y="-2956"/>
            <a:ext cx="11118630" cy="626285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364770C-1C3D-E145-AF72-BCA4B32479F1}"/>
              </a:ext>
            </a:extLst>
          </p:cNvPr>
          <p:cNvSpPr txBox="1"/>
          <p:nvPr/>
        </p:nvSpPr>
        <p:spPr>
          <a:xfrm>
            <a:off x="3146163" y="1791955"/>
            <a:ext cx="4181411" cy="6155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latin typeface="Calibri"/>
              </a:rPr>
              <a:t> Dulux Interior Wall Paints offers a range of solutions to Farah's problems.</a:t>
            </a:r>
            <a:endParaRPr lang="en-US" sz="3200" b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CA9E372-A5F0-D773-37CC-E29EEA639A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14110" y="-47447"/>
            <a:ext cx="1729890" cy="6307342"/>
          </a:xfrm>
          <a:prstGeom prst="rect">
            <a:avLst/>
          </a:prstGeom>
        </p:spPr>
      </p:pic>
      <p:pic>
        <p:nvPicPr>
          <p:cNvPr id="6" name="Picture 5" descr="A bucket of paint with a logo&#10;&#10;Description automatically generated">
            <a:extLst>
              <a:ext uri="{FF2B5EF4-FFF2-40B4-BE49-F238E27FC236}">
                <a16:creationId xmlns:a16="http://schemas.microsoft.com/office/drawing/2014/main" id="{78FFB680-9701-8823-0623-B0FBAD12F0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972660" y="181476"/>
            <a:ext cx="1464072" cy="1610479"/>
          </a:xfrm>
          <a:prstGeom prst="rect">
            <a:avLst/>
          </a:prstGeom>
        </p:spPr>
      </p:pic>
      <p:pic>
        <p:nvPicPr>
          <p:cNvPr id="9" name="Picture 8" descr="A bucket of paint with a child drawing on it&#10;&#10;Description automatically generated">
            <a:extLst>
              <a:ext uri="{FF2B5EF4-FFF2-40B4-BE49-F238E27FC236}">
                <a16:creationId xmlns:a16="http://schemas.microsoft.com/office/drawing/2014/main" id="{44D10BC1-3A26-EEE6-DEE6-132063A58A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07298" y="261687"/>
            <a:ext cx="1341507" cy="1488451"/>
          </a:xfrm>
          <a:prstGeom prst="rect">
            <a:avLst/>
          </a:prstGeom>
        </p:spPr>
      </p:pic>
      <p:pic>
        <p:nvPicPr>
          <p:cNvPr id="10" name="Picture 9" descr="A bucket of paint with a picture of a couple of people&#10;&#10;Description automatically generated">
            <a:extLst>
              <a:ext uri="{FF2B5EF4-FFF2-40B4-BE49-F238E27FC236}">
                <a16:creationId xmlns:a16="http://schemas.microsoft.com/office/drawing/2014/main" id="{5F5B2B67-538D-9AF8-EBCC-884D90793A7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42952" y="139157"/>
            <a:ext cx="1615552" cy="177710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82198FA-8275-409B-FE37-F096E11BFD5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1859224" y="1916264"/>
            <a:ext cx="1312052" cy="1531697"/>
          </a:xfrm>
          <a:prstGeom prst="rect">
            <a:avLst/>
          </a:prstGeom>
        </p:spPr>
      </p:pic>
      <p:pic>
        <p:nvPicPr>
          <p:cNvPr id="14" name="Picture 13" descr="A bucket of paint with a white lid&#10;&#10;Description automatically generated">
            <a:extLst>
              <a:ext uri="{FF2B5EF4-FFF2-40B4-BE49-F238E27FC236}">
                <a16:creationId xmlns:a16="http://schemas.microsoft.com/office/drawing/2014/main" id="{E712D27F-4652-D0E2-502E-8A5A58E1522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118192" y="1947245"/>
            <a:ext cx="1312052" cy="1500716"/>
          </a:xfrm>
          <a:prstGeom prst="rect">
            <a:avLst/>
          </a:prstGeom>
        </p:spPr>
      </p:pic>
      <p:pic>
        <p:nvPicPr>
          <p:cNvPr id="15" name="Picture 14" descr="A purple bucket of paint&#10;&#10;Description automatically generated">
            <a:extLst>
              <a:ext uri="{FF2B5EF4-FFF2-40B4-BE49-F238E27FC236}">
                <a16:creationId xmlns:a16="http://schemas.microsoft.com/office/drawing/2014/main" id="{9574C38A-4573-5B0D-59CF-50FF00E2BF9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682091" y="1931755"/>
            <a:ext cx="1464072" cy="1516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6802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0350851-758B-9B6B-A1D2-2FD40550E7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972660" y="-2956"/>
            <a:ext cx="11118630" cy="626285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364770C-1C3D-E145-AF72-BCA4B32479F1}"/>
              </a:ext>
            </a:extLst>
          </p:cNvPr>
          <p:cNvSpPr txBox="1"/>
          <p:nvPr/>
        </p:nvSpPr>
        <p:spPr>
          <a:xfrm>
            <a:off x="3451272" y="5264062"/>
            <a:ext cx="4181411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i="1">
                <a:solidFill>
                  <a:srgbClr val="FF0000"/>
                </a:solidFill>
                <a:latin typeface="Calibri"/>
              </a:rPr>
              <a:t>Click each type to learn more</a:t>
            </a:r>
            <a:endParaRPr lang="en-US" sz="3200" i="1">
              <a:solidFill>
                <a:srgbClr val="FF0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CA9E372-A5F0-D773-37CC-E29EEA639A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71210" y="161925"/>
            <a:ext cx="1729890" cy="5029636"/>
          </a:xfrm>
          <a:prstGeom prst="rect">
            <a:avLst/>
          </a:prstGeom>
        </p:spPr>
      </p:pic>
      <p:pic>
        <p:nvPicPr>
          <p:cNvPr id="2" name="Picture 1" descr="A bucket of paint with a logo&#10;&#10;Description automatically generated">
            <a:extLst>
              <a:ext uri="{FF2B5EF4-FFF2-40B4-BE49-F238E27FC236}">
                <a16:creationId xmlns:a16="http://schemas.microsoft.com/office/drawing/2014/main" id="{F39CB6FC-E7B2-B483-F1B1-8EA9E821108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972660" y="181476"/>
            <a:ext cx="1464072" cy="1610479"/>
          </a:xfrm>
          <a:prstGeom prst="rect">
            <a:avLst/>
          </a:prstGeom>
        </p:spPr>
      </p:pic>
      <p:pic>
        <p:nvPicPr>
          <p:cNvPr id="3" name="Picture 2" descr="A bucket of paint with a child drawing on it&#10;&#10;Description automatically generated">
            <a:extLst>
              <a:ext uri="{FF2B5EF4-FFF2-40B4-BE49-F238E27FC236}">
                <a16:creationId xmlns:a16="http://schemas.microsoft.com/office/drawing/2014/main" id="{1768431B-C753-5A81-5061-4EB27F499D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07298" y="261687"/>
            <a:ext cx="1341507" cy="1488451"/>
          </a:xfrm>
          <a:prstGeom prst="rect">
            <a:avLst/>
          </a:prstGeom>
        </p:spPr>
      </p:pic>
      <p:pic>
        <p:nvPicPr>
          <p:cNvPr id="5" name="Picture 4" descr="A bucket of paint with a picture of a couple of people&#10;&#10;Description automatically generated">
            <a:extLst>
              <a:ext uri="{FF2B5EF4-FFF2-40B4-BE49-F238E27FC236}">
                <a16:creationId xmlns:a16="http://schemas.microsoft.com/office/drawing/2014/main" id="{B8A17854-8203-B677-963F-8924EE1E0A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42952" y="139157"/>
            <a:ext cx="1615552" cy="177710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DBD941E-41CC-9BA9-96D8-62EF0EEE272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1859224" y="1916264"/>
            <a:ext cx="1312052" cy="1531697"/>
          </a:xfrm>
          <a:prstGeom prst="rect">
            <a:avLst/>
          </a:prstGeom>
        </p:spPr>
      </p:pic>
      <p:pic>
        <p:nvPicPr>
          <p:cNvPr id="8" name="Picture 7" descr="A bucket of paint with a white lid&#10;&#10;Description automatically generated">
            <a:extLst>
              <a:ext uri="{FF2B5EF4-FFF2-40B4-BE49-F238E27FC236}">
                <a16:creationId xmlns:a16="http://schemas.microsoft.com/office/drawing/2014/main" id="{81971853-30B1-5E93-16B4-14A8993FD1C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118192" y="1947245"/>
            <a:ext cx="1312052" cy="1500716"/>
          </a:xfrm>
          <a:prstGeom prst="rect">
            <a:avLst/>
          </a:prstGeom>
        </p:spPr>
      </p:pic>
      <p:pic>
        <p:nvPicPr>
          <p:cNvPr id="13" name="Picture 12" descr="A purple bucket of paint&#10;&#10;Description automatically generated">
            <a:extLst>
              <a:ext uri="{FF2B5EF4-FFF2-40B4-BE49-F238E27FC236}">
                <a16:creationId xmlns:a16="http://schemas.microsoft.com/office/drawing/2014/main" id="{35A651B7-B5E6-4FB8-0BA1-F7D29757B51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685046" y="1882395"/>
            <a:ext cx="1464072" cy="1516206"/>
          </a:xfrm>
          <a:prstGeom prst="rect">
            <a:avLst/>
          </a:prstGeom>
        </p:spPr>
      </p:pic>
      <p:sp>
        <p:nvSpPr>
          <p:cNvPr id="6" name="Speech Bubble: Rectangle with Corners Rounded 5">
            <a:extLst>
              <a:ext uri="{FF2B5EF4-FFF2-40B4-BE49-F238E27FC236}">
                <a16:creationId xmlns:a16="http://schemas.microsoft.com/office/drawing/2014/main" id="{1529A05F-5171-B51D-EC53-D4A8239552DD}"/>
              </a:ext>
            </a:extLst>
          </p:cNvPr>
          <p:cNvSpPr/>
          <p:nvPr/>
        </p:nvSpPr>
        <p:spPr>
          <a:xfrm>
            <a:off x="4567687" y="108822"/>
            <a:ext cx="2736730" cy="871440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n-US" dirty="0">
                <a:cs typeface="Arial"/>
              </a:rPr>
              <a:t>Let's help Farah select the right kind of paint to help transform her home.</a:t>
            </a: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8808870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ulux Velvet Touch - Diamond Glo - YouTube">
            <a:extLst>
              <a:ext uri="{FF2B5EF4-FFF2-40B4-BE49-F238E27FC236}">
                <a16:creationId xmlns:a16="http://schemas.microsoft.com/office/drawing/2014/main" id="{7FBADD29-DBBB-3C1C-087F-76CFFD75A0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7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A bucket of paint with a logo&#10;&#10;Description automatically generated">
            <a:extLst>
              <a:ext uri="{FF2B5EF4-FFF2-40B4-BE49-F238E27FC236}">
                <a16:creationId xmlns:a16="http://schemas.microsoft.com/office/drawing/2014/main" id="{6E5CB16D-2238-2335-54BE-6A5591698E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08714" y="2315672"/>
            <a:ext cx="2523937" cy="2658664"/>
          </a:xfrm>
          <a:prstGeom prst="rect">
            <a:avLst/>
          </a:prstGeom>
        </p:spPr>
      </p:pic>
      <p:sp>
        <p:nvSpPr>
          <p:cNvPr id="3" name="Title 7">
            <a:extLst>
              <a:ext uri="{FF2B5EF4-FFF2-40B4-BE49-F238E27FC236}">
                <a16:creationId xmlns:a16="http://schemas.microsoft.com/office/drawing/2014/main" id="{D47A2A2E-C964-916B-788B-52305F6309DA}"/>
              </a:ext>
            </a:extLst>
          </p:cNvPr>
          <p:cNvSpPr txBox="1">
            <a:spLocks/>
          </p:cNvSpPr>
          <p:nvPr/>
        </p:nvSpPr>
        <p:spPr>
          <a:xfrm>
            <a:off x="506930" y="239070"/>
            <a:ext cx="6487573" cy="720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SG" dirty="0">
                <a:solidFill>
                  <a:schemeClr val="bg1"/>
                </a:solidFill>
                <a:latin typeface="Colour Sans"/>
              </a:rPr>
              <a:t>Introduction</a:t>
            </a:r>
          </a:p>
        </p:txBody>
      </p:sp>
      <p:pic>
        <p:nvPicPr>
          <p:cNvPr id="4" name="Picture 3" descr="A colorful logo with white text&#10;&#10;Description automatically generated">
            <a:extLst>
              <a:ext uri="{FF2B5EF4-FFF2-40B4-BE49-F238E27FC236}">
                <a16:creationId xmlns:a16="http://schemas.microsoft.com/office/drawing/2014/main" id="{2192C697-7C1A-FBA4-7076-E64DEC1DD7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8689" y="1805257"/>
            <a:ext cx="2886075" cy="1619250"/>
          </a:xfrm>
          <a:prstGeom prst="rect">
            <a:avLst/>
          </a:prstGeom>
        </p:spPr>
      </p:pic>
      <p:pic>
        <p:nvPicPr>
          <p:cNvPr id="5" name="Picture 4" descr="A logo with a rainbow colored circle&#10;&#10;Description automatically generated">
            <a:extLst>
              <a:ext uri="{FF2B5EF4-FFF2-40B4-BE49-F238E27FC236}">
                <a16:creationId xmlns:a16="http://schemas.microsoft.com/office/drawing/2014/main" id="{440F6F9C-E0B5-4B48-FBE6-BB4FFD3D1B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40480" y="1874268"/>
            <a:ext cx="1488955" cy="128713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F0BF70B-B895-5DEB-8F44-BF146BE5053D}"/>
              </a:ext>
            </a:extLst>
          </p:cNvPr>
          <p:cNvSpPr txBox="1"/>
          <p:nvPr/>
        </p:nvSpPr>
        <p:spPr>
          <a:xfrm>
            <a:off x="1792363" y="4829562"/>
            <a:ext cx="6403657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cs typeface="Arial"/>
              </a:rPr>
              <a:t>Crafted by renowned global </a:t>
            </a:r>
            <a:r>
              <a:rPr lang="en-US" b="1" dirty="0" err="1">
                <a:cs typeface="Arial"/>
              </a:rPr>
              <a:t>colour</a:t>
            </a:r>
            <a:r>
              <a:rPr lang="en-US" b="1" dirty="0">
                <a:cs typeface="Arial"/>
              </a:rPr>
              <a:t> experts and designers.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5031746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N_Functions_16x9">
  <a:themeElements>
    <a:clrScheme name="AkzoNobel">
      <a:dk1>
        <a:srgbClr val="000000"/>
      </a:dk1>
      <a:lt1>
        <a:srgbClr val="FFFFFF"/>
      </a:lt1>
      <a:dk2>
        <a:srgbClr val="868688"/>
      </a:dk2>
      <a:lt2>
        <a:srgbClr val="B7B9BA"/>
      </a:lt2>
      <a:accent1>
        <a:srgbClr val="005192"/>
      </a:accent1>
      <a:accent2>
        <a:srgbClr val="56378A"/>
      </a:accent2>
      <a:accent3>
        <a:srgbClr val="952D98"/>
      </a:accent3>
      <a:accent4>
        <a:srgbClr val="C3004A"/>
      </a:accent4>
      <a:accent5>
        <a:srgbClr val="0092BB"/>
      </a:accent5>
      <a:accent6>
        <a:srgbClr val="44697D"/>
      </a:accent6>
      <a:hlink>
        <a:srgbClr val="008BC5"/>
      </a:hlink>
      <a:folHlink>
        <a:srgbClr val="005192"/>
      </a:folHlink>
    </a:clrScheme>
    <a:fontScheme name="AkzoNob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lIns="0" tIns="0" rIns="0" bIns="0" rtlCol="0" anchor="t" anchorCtr="0"/>
      <a:lstStyle>
        <a:defPPr algn="l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400" b="0" dirty="0" smtClean="0"/>
        </a:defPPr>
      </a:lstStyle>
    </a:txDef>
  </a:objectDefaults>
  <a:extraClrSchemeLst/>
  <a:custClrLst>
    <a:custClr name="AN Dark Blue">
      <a:srgbClr val="005192"/>
    </a:custClr>
    <a:custClr name="AN Purple">
      <a:srgbClr val="56378A"/>
    </a:custClr>
    <a:custClr name="AN Violet">
      <a:srgbClr val="952D98"/>
    </a:custClr>
    <a:custClr name="AN Fuchsia">
      <a:srgbClr val="C3004A"/>
    </a:custClr>
    <a:custClr name="AN Turquoise">
      <a:srgbClr val="0092BB"/>
    </a:custClr>
    <a:custClr name="AN Gray Blue">
      <a:srgbClr val="44697D"/>
    </a:custClr>
    <a:custClr name="AN Gray">
      <a:srgbClr val="868688"/>
    </a:custClr>
    <a:custClr name=" ">
      <a:srgbClr val="FFFFFF"/>
    </a:custClr>
    <a:custClr name=" ">
      <a:srgbClr val="FFFFFF"/>
    </a:custClr>
    <a:custClr name=" ">
      <a:srgbClr val="FFFFFF"/>
    </a:custClr>
    <a:custClr name="AN Light Blue">
      <a:srgbClr val="008BC5"/>
    </a:custClr>
    <a:custClr name="AN Pale Purple">
      <a:srgbClr val="C5BBDA"/>
    </a:custClr>
    <a:custClr name="AN Pale Violet">
      <a:srgbClr val="C966CD"/>
    </a:custClr>
    <a:custClr name="AN Pale Fuchsia">
      <a:srgbClr val="E64487"/>
    </a:custClr>
    <a:custClr name="AN Pale Turquoise">
      <a:srgbClr val="55BECF"/>
    </a:custClr>
    <a:custClr name="AN Pale Gray Blue">
      <a:srgbClr val="B9C9D0"/>
    </a:custClr>
    <a:custClr name="AN Pale Gray">
      <a:srgbClr val="B7B9BA"/>
    </a:custClr>
  </a:custClrLst>
  <a:extLst>
    <a:ext uri="{05A4C25C-085E-4340-85A3-A5531E510DB2}">
      <thm15:themeFamily xmlns:thm15="http://schemas.microsoft.com/office/thememl/2012/main" name="AN_Template_16x9_20180322.potx" id="{95D95A4F-F007-4B1E-9B31-0B34B8171606}" vid="{4852B979-E21C-4D34-B29B-103F9C9CF61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SharedContentType xmlns="Microsoft.SharePoint.Taxonomy.ContentTypeSync" SourceId="34817a06-5577-4462-8781-9851d056e4aa" ContentTypeId="0x0101005C1BEE2454CD7640B6C1B8BA67C55225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N Working Document" ma:contentTypeID="0x0101005C1BEE2454CD7640B6C1B8BA67C5522501003075CCE47238AE46A7103EB058253FA4" ma:contentTypeVersion="117" ma:contentTypeDescription="Create a new document." ma:contentTypeScope="" ma:versionID="e18937166cb4437a4acefc0441a84a00">
  <xsd:schema xmlns:xsd="http://www.w3.org/2001/XMLSchema" xmlns:xs="http://www.w3.org/2001/XMLSchema" xmlns:p="http://schemas.microsoft.com/office/2006/metadata/properties" xmlns:ns1="http://schemas.microsoft.com/sharepoint/v3" xmlns:ns2="4fab6e6a-9d73-4e0c-873f-95a2af16e75c" xmlns:ns3="7dc9010c-46e6-4946-b720-0daeb4a043eb" targetNamespace="http://schemas.microsoft.com/office/2006/metadata/properties" ma:root="true" ma:fieldsID="0bf93d1e2f6e3e6f91e8ac93987f56da" ns1:_="" ns2:_="" ns3:_="">
    <xsd:import namespace="http://schemas.microsoft.com/sharepoint/v3"/>
    <xsd:import namespace="4fab6e6a-9d73-4e0c-873f-95a2af16e75c"/>
    <xsd:import namespace="7dc9010c-46e6-4946-b720-0daeb4a043eb"/>
    <xsd:element name="properties">
      <xsd:complexType>
        <xsd:sequence>
          <xsd:element name="documentManagement">
            <xsd:complexType>
              <xsd:all>
                <xsd:element ref="ns2:g9029d403c5c40e3b969b18adb6fd5b9" minOccurs="0"/>
                <xsd:element ref="ns2:TaxCatchAll" minOccurs="0"/>
                <xsd:element ref="ns2:TaxCatchAllLabel" minOccurs="0"/>
                <xsd:element ref="ns2:cc2dd03876fb497f97efb31ac36a49be" minOccurs="0"/>
                <xsd:element ref="ns2:d085d8b774b34c079f4d06fc1b85e285" minOccurs="0"/>
                <xsd:element ref="ns2:ocd95ad6b8e04e7f842942825668fbb5" minOccurs="0"/>
                <xsd:element ref="ns1:ol_Department" minOccurs="0"/>
                <xsd:element ref="ns2:mae7e2ab67634575ac873c82e00fa1a0" minOccurs="0"/>
                <xsd:element ref="ns2:mda0baadc97c4db7badb76e25463554a" minOccurs="0"/>
                <xsd:element ref="ns2:ef1fcb5509b14f4497a7b17975627e9f" minOccurs="0"/>
                <xsd:element ref="ns2:aa8db5530e2a45348bde7c5817e341ff" minOccurs="0"/>
                <xsd:element ref="ns2:a3d9eac3772e4880895b85fe254adfa9" minOccurs="0"/>
                <xsd:element ref="ns2:j66dce8a783c450aa3780bca39aa40ce" minOccurs="0"/>
                <xsd:element ref="ns2:i7bf91362ff6412db9e6f8c4b81f26b3" minOccurs="0"/>
                <xsd:element ref="ns2:labc0929767c4783b2d8fa740ca218b7" minOccurs="0"/>
                <xsd:element ref="ns2:d20803f3fe4247919b9b759f5e362834" minOccurs="0"/>
                <xsd:element ref="ns2:d32ae41130da493b86132e3a953071f9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ol_Department" ma:index="18" nillable="true" ma:displayName="Department" ma:internalName="ol_Department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ab6e6a-9d73-4e0c-873f-95a2af16e75c" elementFormDefault="qualified">
    <xsd:import namespace="http://schemas.microsoft.com/office/2006/documentManagement/types"/>
    <xsd:import namespace="http://schemas.microsoft.com/office/infopath/2007/PartnerControls"/>
    <xsd:element name="g9029d403c5c40e3b969b18adb6fd5b9" ma:index="8" ma:taxonomy="true" ma:internalName="g9029d403c5c40e3b969b18adb6fd5b9" ma:taxonomyFieldName="AN_x002d_BusinessAreaCode" ma:displayName="Business Area Code" ma:readOnly="false" ma:default="" ma:fieldId="{09029d40-3c5c-40e3-b969-b18adb6fd5b9}" ma:taxonomyMulti="true" ma:sspId="34817a06-5577-4462-8781-9851d056e4aa" ma:termSetId="4be3c42f-e5b6-4330-9300-cb1919e8b84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5a065d3e-d8d4-41f1-944f-59bda982b42f}" ma:internalName="TaxCatchAll" ma:showField="CatchAllData" ma:web="7dc9010c-46e6-4946-b720-0daeb4a043e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5a065d3e-d8d4-41f1-944f-59bda982b42f}" ma:internalName="TaxCatchAllLabel" ma:readOnly="true" ma:showField="CatchAllDataLabel" ma:web="7dc9010c-46e6-4946-b720-0daeb4a043e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c2dd03876fb497f97efb31ac36a49be" ma:index="12" ma:taxonomy="true" ma:internalName="cc2dd03876fb497f97efb31ac36a49be" ma:taxonomyFieldName="AN_x002d_BusinessAreaName" ma:displayName="Business Area Name" ma:readOnly="false" ma:default="" ma:fieldId="{cc2dd038-76fb-497f-97ef-b31ac36a49be}" ma:taxonomyMulti="true" ma:sspId="34817a06-5577-4462-8781-9851d056e4aa" ma:termSetId="b4ba9ded-7c82-449c-8669-f58e84b8420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085d8b774b34c079f4d06fc1b85e285" ma:index="14" ma:taxonomy="true" ma:internalName="d085d8b774b34c079f4d06fc1b85e285" ma:taxonomyFieldName="AN_x002d_BusinessUnitCode" ma:displayName="Business Unit Code" ma:default="" ma:fieldId="{d085d8b7-74b3-4c07-9f4d-06fc1b85e285}" ma:taxonomyMulti="true" ma:sspId="34817a06-5577-4462-8781-9851d056e4aa" ma:termSetId="18ce08ee-805a-48c8-8f23-d5b3bf5757b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ocd95ad6b8e04e7f842942825668fbb5" ma:index="16" ma:taxonomy="true" ma:internalName="ocd95ad6b8e04e7f842942825668fbb5" ma:taxonomyFieldName="AN_x002d_BusinessUnitName" ma:displayName="Business Unit Name" ma:default="" ma:fieldId="{8cd95ad6-b8e0-4e7f-8429-42825668fbb5}" ma:taxonomyMulti="true" ma:sspId="34817a06-5577-4462-8781-9851d056e4aa" ma:termSetId="065ab6a1-3071-4584-b682-6da83ab86c5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ae7e2ab67634575ac873c82e00fa1a0" ma:index="19" ma:taxonomy="true" ma:internalName="mae7e2ab67634575ac873c82e00fa1a0" ma:taxonomyFieldName="AN_x002d_TopicArea" ma:displayName="Topic Area" ma:fieldId="{6ae7e2ab-6763-4575-ac87-3c82e00fa1a0}" ma:sspId="34817a06-5577-4462-8781-9851d056e4aa" ma:termSetId="b40e0041-f740-470c-9d94-0b547bccd21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da0baadc97c4db7badb76e25463554a" ma:index="21" ma:taxonomy="true" ma:internalName="mda0baadc97c4db7badb76e25463554a" ma:taxonomyFieldName="AN_x002d_CountryCode" ma:displayName="Country Code" ma:default="" ma:fieldId="{6da0baad-c97c-4db7-badb-76e25463554a}" ma:taxonomyMulti="true" ma:sspId="34817a06-5577-4462-8781-9851d056e4aa" ma:termSetId="7cb3b333-7ce8-493a-8c70-f93807ff97d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f1fcb5509b14f4497a7b17975627e9f" ma:index="23" ma:taxonomy="true" ma:internalName="ef1fcb5509b14f4497a7b17975627e9f" ma:taxonomyFieldName="AN_x002d_CountryName" ma:displayName="Country Name" ma:default="" ma:fieldId="{ef1fcb55-09b1-4f44-97a7-b17975627e9f}" ma:taxonomyMulti="true" ma:sspId="34817a06-5577-4462-8781-9851d056e4aa" ma:termSetId="82f4b838-eff4-4f3c-a1fd-2b4ec7e3b9d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a8db5530e2a45348bde7c5817e341ff" ma:index="25" ma:taxonomy="true" ma:internalName="aa8db5530e2a45348bde7c5817e341ff" ma:taxonomyFieldName="AN_x002d_SecurityClass" ma:displayName="Security Class" ma:fieldId="{aa8db553-0e2a-4534-8bde-7c5817e341ff}" ma:sspId="34817a06-5577-4462-8781-9851d056e4aa" ma:termSetId="aa54f70f-17d9-40ad-be86-41ba6aadaa2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3d9eac3772e4880895b85fe254adfa9" ma:index="27" ma:taxonomy="true" ma:internalName="a3d9eac3772e4880895b85fe254adfa9" ma:taxonomyFieldName="AN_x002d_RegionCode" ma:displayName="Region Code" ma:fieldId="{a3d9eac3-772e-4880-895b-85fe254adfa9}" ma:sspId="34817a06-5577-4462-8781-9851d056e4aa" ma:termSetId="4b6f7656-1c15-4149-a07f-5ccc2445063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66dce8a783c450aa3780bca39aa40ce" ma:index="29" ma:taxonomy="true" ma:internalName="j66dce8a783c450aa3780bca39aa40ce" ma:taxonomyFieldName="AN_x002d_RegionName" ma:displayName="Region Name" ma:fieldId="{366dce8a-783c-450a-a378-0bca39aa40ce}" ma:sspId="34817a06-5577-4462-8781-9851d056e4aa" ma:termSetId="6ed19847-4020-4c57-904e-b70bd42e29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7bf91362ff6412db9e6f8c4b81f26b3" ma:index="31" ma:taxonomy="true" ma:internalName="i7bf91362ff6412db9e6f8c4b81f26b3" ma:taxonomyFieldName="AN_x002d_ClusterCode" ma:displayName="Cluster Code" ma:fieldId="{27bf9136-2ff6-412d-b9e6-f8c4b81f26b3}" ma:sspId="34817a06-5577-4462-8781-9851d056e4aa" ma:termSetId="d5563a6b-3c50-42f9-a70e-dd40e3934e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abc0929767c4783b2d8fa740ca218b7" ma:index="33" ma:taxonomy="true" ma:internalName="labc0929767c4783b2d8fa740ca218b7" ma:taxonomyFieldName="AN_x002d_ClusterName" ma:displayName="Cluster Name" ma:fieldId="{5abc0929-767c-4783-b2d8-fa740ca218b7}" ma:sspId="34817a06-5577-4462-8781-9851d056e4aa" ma:termSetId="948d2c6f-5048-46cd-906c-1ac4b0e271e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20803f3fe4247919b9b759f5e362834" ma:index="35" ma:taxonomy="true" ma:internalName="d20803f3fe4247919b9b759f5e362834" ma:taxonomyFieldName="AN_x002d_SiteCode" ma:displayName="Site Code" ma:fieldId="{d20803f3-fe42-4791-9b9b-759f5e362834}" ma:sspId="34817a06-5577-4462-8781-9851d056e4aa" ma:termSetId="ba35cd31-86dc-4463-99fb-47af8680961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32ae41130da493b86132e3a953071f9" ma:index="37" ma:taxonomy="true" ma:internalName="d32ae41130da493b86132e3a953071f9" ma:taxonomyFieldName="AN_x002d_SiteName" ma:displayName="Site Name" ma:fieldId="{d32ae411-30da-493b-8613-2e3a953071f9}" ma:sspId="34817a06-5577-4462-8781-9851d056e4aa" ma:termSetId="cd6c1a7e-5fc1-459f-98cf-50c16f72822f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c9010c-46e6-4946-b720-0daeb4a043eb" elementFormDefault="qualified">
    <xsd:import namespace="http://schemas.microsoft.com/office/2006/documentManagement/types"/>
    <xsd:import namespace="http://schemas.microsoft.com/office/infopath/2007/PartnerControls"/>
    <xsd:element name="_dlc_DocId" ma:index="39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4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4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a8db5530e2a45348bde7c5817e341ff xmlns="4fab6e6a-9d73-4e0c-873f-95a2af16e75c">
      <Terms xmlns="http://schemas.microsoft.com/office/infopath/2007/PartnerControls">
        <TermInfo xmlns="http://schemas.microsoft.com/office/infopath/2007/PartnerControls">
          <TermName xmlns="http://schemas.microsoft.com/office/infopath/2007/PartnerControls">Restricted</TermName>
          <TermId xmlns="http://schemas.microsoft.com/office/infopath/2007/PartnerControls">bbd8224c-5f2c-46d6-b6c8-7d3985b69fd1</TermId>
        </TermInfo>
      </Terms>
    </aa8db5530e2a45348bde7c5817e341ff>
    <ol_Department xmlns="http://schemas.microsoft.com/sharepoint/v3">DP SESA Commercial Excellence</ol_Department>
    <d085d8b774b34c079f4d06fc1b85e285 xmlns="4fab6e6a-9d73-4e0c-873f-95a2af16e75c">
      <Terms xmlns="http://schemas.microsoft.com/office/infopath/2007/PartnerControls">
        <TermInfo xmlns="http://schemas.microsoft.com/office/infopath/2007/PartnerControls">
          <TermName xmlns="http://schemas.microsoft.com/office/infopath/2007/PartnerControls">BADP</TermName>
          <TermId xmlns="http://schemas.microsoft.com/office/infopath/2007/PartnerControls">a2709f12-3b57-4802-914e-16530e1e0585</TermId>
        </TermInfo>
      </Terms>
    </d085d8b774b34c079f4d06fc1b85e285>
    <_dlc_DocId xmlns="7dc9010c-46e6-4946-b720-0daeb4a043eb">SPOSC00008-351303162-39618</_dlc_DocId>
    <labc0929767c4783b2d8fa740ca218b7 xmlns="4fab6e6a-9d73-4e0c-873f-95a2af16e75c">
      <Terms xmlns="http://schemas.microsoft.com/office/infopath/2007/PartnerControls">
        <TermInfo xmlns="http://schemas.microsoft.com/office/infopath/2007/PartnerControls">
          <TermName xmlns="http://schemas.microsoft.com/office/infopath/2007/PartnerControls">Central Europe</TermName>
          <TermId xmlns="http://schemas.microsoft.com/office/infopath/2007/PartnerControls">b1cfca3a-f357-40e6-98ad-6479002c6777</TermId>
        </TermInfo>
      </Terms>
    </labc0929767c4783b2d8fa740ca218b7>
    <ef1fcb5509b14f4497a7b17975627e9f xmlns="4fab6e6a-9d73-4e0c-873f-95a2af16e75c">
      <Terms xmlns="http://schemas.microsoft.com/office/infopath/2007/PartnerControls">
        <TermInfo xmlns="http://schemas.microsoft.com/office/infopath/2007/PartnerControls">
          <TermName xmlns="http://schemas.microsoft.com/office/infopath/2007/PartnerControls">Argentina</TermName>
          <TermId xmlns="http://schemas.microsoft.com/office/infopath/2007/PartnerControls">01293ee1-c970-4eac-9acd-1037020c531b</TermId>
        </TermInfo>
      </Terms>
    </ef1fcb5509b14f4497a7b17975627e9f>
    <i7bf91362ff6412db9e6f8c4b81f26b3 xmlns="4fab6e6a-9d73-4e0c-873f-95a2af16e75c">
      <Terms xmlns="http://schemas.microsoft.com/office/infopath/2007/PartnerControls">
        <TermInfo xmlns="http://schemas.microsoft.com/office/infopath/2007/PartnerControls">
          <TermName xmlns="http://schemas.microsoft.com/office/infopath/2007/PartnerControls">CEUR</TermName>
          <TermId xmlns="http://schemas.microsoft.com/office/infopath/2007/PartnerControls">c2b0dd99-0ebb-4475-af32-8c000ce005d6</TermId>
        </TermInfo>
      </Terms>
    </i7bf91362ff6412db9e6f8c4b81f26b3>
    <mda0baadc97c4db7badb76e25463554a xmlns="4fab6e6a-9d73-4e0c-873f-95a2af16e75c">
      <Terms xmlns="http://schemas.microsoft.com/office/infopath/2007/PartnerControls">
        <TermInfo xmlns="http://schemas.microsoft.com/office/infopath/2007/PartnerControls">
          <TermName xmlns="http://schemas.microsoft.com/office/infopath/2007/PartnerControls">AE</TermName>
          <TermId xmlns="http://schemas.microsoft.com/office/infopath/2007/PartnerControls">affb6a9a-f2a3-422a-b2a5-1a9a1e8f1224</TermId>
        </TermInfo>
      </Terms>
    </mda0baadc97c4db7badb76e25463554a>
    <ocd95ad6b8e04e7f842942825668fbb5 xmlns="4fab6e6a-9d73-4e0c-873f-95a2af16e75c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rporate Communications and Public Affairs</TermName>
          <TermId xmlns="http://schemas.microsoft.com/office/infopath/2007/PartnerControls">071986f4-f637-475f-bc64-438ab2e3d18e</TermId>
        </TermInfo>
      </Terms>
    </ocd95ad6b8e04e7f842942825668fbb5>
    <d20803f3fe4247919b9b759f5e362834 xmlns="4fab6e6a-9d73-4e0c-873f-95a2af16e75c">
      <Terms xmlns="http://schemas.microsoft.com/office/infopath/2007/PartnerControls">
        <TermInfo xmlns="http://schemas.microsoft.com/office/infopath/2007/PartnerControls">
          <TermName xmlns="http://schemas.microsoft.com/office/infopath/2007/PartnerControls">SGW</TermName>
          <TermId xmlns="http://schemas.microsoft.com/office/infopath/2007/PartnerControls">1bc8357a-14b7-4009-ab05-a97a180b0dc3</TermId>
        </TermInfo>
      </Terms>
    </d20803f3fe4247919b9b759f5e362834>
    <j66dce8a783c450aa3780bca39aa40ce xmlns="4fab6e6a-9d73-4e0c-873f-95a2af16e75c">
      <Terms xmlns="http://schemas.microsoft.com/office/infopath/2007/PartnerControls">
        <TermInfo xmlns="http://schemas.microsoft.com/office/infopath/2007/PartnerControls">
          <TermName xmlns="http://schemas.microsoft.com/office/infopath/2007/PartnerControls">ASIA PACIFIC</TermName>
          <TermId xmlns="http://schemas.microsoft.com/office/infopath/2007/PartnerControls">d8063886-63c9-4901-9180-ec1d4acc9200</TermId>
        </TermInfo>
      </Terms>
    </j66dce8a783c450aa3780bca39aa40ce>
    <_dlc_DocIdUrl xmlns="7dc9010c-46e6-4946-b720-0daeb4a043eb">
      <Url>https://akzonobel.sharepoint.com/sites/SC00008/T13201/_layouts/15/DocIdRedir.aspx?ID=SPOSC00008-351303162-39618</Url>
      <Description>SPOSC00008-351303162-39618</Description>
    </_dlc_DocIdUrl>
    <a3d9eac3772e4880895b85fe254adfa9 xmlns="4fab6e6a-9d73-4e0c-873f-95a2af16e75c">
      <Terms xmlns="http://schemas.microsoft.com/office/infopath/2007/PartnerControls">
        <TermInfo xmlns="http://schemas.microsoft.com/office/infopath/2007/PartnerControls">
          <TermName xmlns="http://schemas.microsoft.com/office/infopath/2007/PartnerControls">AMER</TermName>
          <TermId xmlns="http://schemas.microsoft.com/office/infopath/2007/PartnerControls">81521a81-7113-43b3-a1b1-174c68bc0af1</TermId>
        </TermInfo>
      </Terms>
    </a3d9eac3772e4880895b85fe254adfa9>
    <g9029d403c5c40e3b969b18adb6fd5b9 xmlns="4fab6e6a-9d73-4e0c-873f-95a2af16e75c">
      <Terms xmlns="http://schemas.microsoft.com/office/infopath/2007/PartnerControls">
        <TermInfo xmlns="http://schemas.microsoft.com/office/infopath/2007/PartnerControls">
          <TermName xmlns="http://schemas.microsoft.com/office/infopath/2007/PartnerControls">DP</TermName>
          <TermId xmlns="http://schemas.microsoft.com/office/infopath/2007/PartnerControls">b9b347ac-58c5-4a62-954d-4208f7a10217</TermId>
        </TermInfo>
      </Terms>
    </g9029d403c5c40e3b969b18adb6fd5b9>
    <d32ae41130da493b86132e3a953071f9 xmlns="4fab6e6a-9d73-4e0c-873f-95a2af16e75c">
      <Terms xmlns="http://schemas.microsoft.com/office/infopath/2007/PartnerControls">
        <TermInfo xmlns="http://schemas.microsoft.com/office/infopath/2007/PartnerControls">
          <TermName xmlns="http://schemas.microsoft.com/office/infopath/2007/PartnerControls">Aabyhoej</TermName>
          <TermId xmlns="http://schemas.microsoft.com/office/infopath/2007/PartnerControls">1c1c43b1-9bd1-447e-b35b-b64e2dd2b66a</TermId>
        </TermInfo>
      </Terms>
    </d32ae41130da493b86132e3a953071f9>
    <cc2dd03876fb497f97efb31ac36a49be xmlns="4fab6e6a-9d73-4e0c-873f-95a2af16e75c">
      <Terms xmlns="http://schemas.microsoft.com/office/infopath/2007/PartnerControls">
        <TermInfo xmlns="http://schemas.microsoft.com/office/infopath/2007/PartnerControls">
          <TermName xmlns="http://schemas.microsoft.com/office/infopath/2007/PartnerControls">Decorative Paints</TermName>
          <TermId xmlns="http://schemas.microsoft.com/office/infopath/2007/PartnerControls">fb95134c-f750-479c-8c94-c6cfe5c93d85</TermId>
        </TermInfo>
      </Terms>
    </cc2dd03876fb497f97efb31ac36a49be>
    <mae7e2ab67634575ac873c82e00fa1a0 xmlns="4fab6e6a-9d73-4e0c-873f-95a2af16e75c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</TermName>
          <TermId xmlns="http://schemas.microsoft.com/office/infopath/2007/PartnerControls">679be991-455d-4b1e-9b5a-ea1100e23e6c</TermId>
        </TermInfo>
      </Terms>
    </mae7e2ab67634575ac873c82e00fa1a0>
    <TaxCatchAll xmlns="4fab6e6a-9d73-4e0c-873f-95a2af16e75c">
      <Value>443</Value>
      <Value>97</Value>
      <Value>182</Value>
      <Value>73</Value>
      <Value>212</Value>
      <Value>24</Value>
      <Value>23</Value>
      <Value>96</Value>
      <Value>15</Value>
      <Value>274</Value>
      <Value>82</Value>
      <Value>44</Value>
      <Value>191</Value>
      <Value>335</Value>
    </TaxCatchAll>
  </documentManagement>
</p:propertie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2C3E7F2-812B-49ED-A41C-95F24152C08B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9433BAA5-96BC-4D22-AFC3-8E05B2FDCF82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270D43D4-0FF1-461A-AA3E-53F29D16D49C}">
  <ds:schemaRefs>
    <ds:schemaRef ds:uri="4fab6e6a-9d73-4e0c-873f-95a2af16e75c"/>
    <ds:schemaRef ds:uri="7dc9010c-46e6-4946-b720-0daeb4a043e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12836B41-D355-4548-A18F-2935B197BCF3}">
  <ds:schemaRefs>
    <ds:schemaRef ds:uri="4fab6e6a-9d73-4e0c-873f-95a2af16e75c"/>
    <ds:schemaRef ds:uri="7dc9010c-46e6-4946-b720-0daeb4a043eb"/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customXml/itemProps5.xml><?xml version="1.0" encoding="utf-8"?>
<ds:datastoreItem xmlns:ds="http://schemas.openxmlformats.org/officeDocument/2006/customXml" ds:itemID="{F921DF56-0F25-4536-BE3E-D3F17BEB2DA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4</TotalTime>
  <Words>5624</Words>
  <Application>Microsoft Office PowerPoint</Application>
  <PresentationFormat>On-screen Show (16:9)</PresentationFormat>
  <Paragraphs>760</Paragraphs>
  <Slides>67</Slides>
  <Notes>6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7</vt:i4>
      </vt:variant>
    </vt:vector>
  </HeadingPairs>
  <TitlesOfParts>
    <vt:vector size="68" baseType="lpstr">
      <vt:lpstr>AN_Functions_16x9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kzonob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-2-3</dc:title>
  <dc:creator>Usman Hafaz</dc:creator>
  <dc:description>v3.2</dc:description>
  <cp:lastModifiedBy>Ananya</cp:lastModifiedBy>
  <cp:revision>326</cp:revision>
  <dcterms:created xsi:type="dcterms:W3CDTF">2022-11-16T00:47:05Z</dcterms:created>
  <dcterms:modified xsi:type="dcterms:W3CDTF">2023-12-26T13:01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N-ClusterCode">
    <vt:lpwstr>23;#CEUR|c2b0dd99-0ebb-4475-af32-8c000ce005d6</vt:lpwstr>
  </property>
  <property fmtid="{D5CDD505-2E9C-101B-9397-08002B2CF9AE}" pid="3" name="AN-ClusterName">
    <vt:lpwstr>24;#Central Europe|b1cfca3a-f357-40e6-98ad-6479002c6777</vt:lpwstr>
  </property>
  <property fmtid="{D5CDD505-2E9C-101B-9397-08002B2CF9AE}" pid="4" name="MediaServiceImageTags">
    <vt:lpwstr/>
  </property>
  <property fmtid="{D5CDD505-2E9C-101B-9397-08002B2CF9AE}" pid="5" name="ContentTypeId">
    <vt:lpwstr>0x0101005C1BEE2454CD7640B6C1B8BA67C5522501003075CCE47238AE46A7103EB058253FA4</vt:lpwstr>
  </property>
  <property fmtid="{D5CDD505-2E9C-101B-9397-08002B2CF9AE}" pid="6" name="AN-SecurityClass">
    <vt:lpwstr>15;#Restricted|bbd8224c-5f2c-46d6-b6c8-7d3985b69fd1</vt:lpwstr>
  </property>
  <property fmtid="{D5CDD505-2E9C-101B-9397-08002B2CF9AE}" pid="7" name="AN-BusinessUnitCode">
    <vt:lpwstr>191;#BADP|a2709f12-3b57-4802-914e-16530e1e0585</vt:lpwstr>
  </property>
  <property fmtid="{D5CDD505-2E9C-101B-9397-08002B2CF9AE}" pid="8" name="AN-BusinessUnitName">
    <vt:lpwstr>443;#Corporate Communications and Public Affairs|071986f4-f637-475f-bc64-438ab2e3d18e</vt:lpwstr>
  </property>
  <property fmtid="{D5CDD505-2E9C-101B-9397-08002B2CF9AE}" pid="9" name="AN-SiteCode">
    <vt:lpwstr>335;#SGW|1bc8357a-14b7-4009-ab05-a97a180b0dc3</vt:lpwstr>
  </property>
  <property fmtid="{D5CDD505-2E9C-101B-9397-08002B2CF9AE}" pid="10" name="_dlc_DocIdItemGuid">
    <vt:lpwstr>dbe076b0-58d0-4ddb-ba8a-22090872f25a</vt:lpwstr>
  </property>
  <property fmtid="{D5CDD505-2E9C-101B-9397-08002B2CF9AE}" pid="11" name="AN-SiteName">
    <vt:lpwstr>212;#Aabyhoej|1c1c43b1-9bd1-447e-b35b-b64e2dd2b66a</vt:lpwstr>
  </property>
  <property fmtid="{D5CDD505-2E9C-101B-9397-08002B2CF9AE}" pid="12" name="AN_x002d_Keywords">
    <vt:lpwstr/>
  </property>
  <property fmtid="{D5CDD505-2E9C-101B-9397-08002B2CF9AE}" pid="13" name="AN-TopicArea">
    <vt:lpwstr>182;#Communication|679be991-455d-4b1e-9b5a-ea1100e23e6c</vt:lpwstr>
  </property>
  <property fmtid="{D5CDD505-2E9C-101B-9397-08002B2CF9AE}" pid="14" name="AN-RegionCode">
    <vt:lpwstr>82;#AMER|81521a81-7113-43b3-a1b1-174c68bc0af1</vt:lpwstr>
  </property>
  <property fmtid="{D5CDD505-2E9C-101B-9397-08002B2CF9AE}" pid="15" name="ad2168abc306415a91d71ea6c7fad86b">
    <vt:lpwstr/>
  </property>
  <property fmtid="{D5CDD505-2E9C-101B-9397-08002B2CF9AE}" pid="16" name="AN-RegionName">
    <vt:lpwstr>73;#ASIA PACIFIC|d8063886-63c9-4901-9180-ec1d4acc9200</vt:lpwstr>
  </property>
  <property fmtid="{D5CDD505-2E9C-101B-9397-08002B2CF9AE}" pid="17" name="AN-CountryCode">
    <vt:lpwstr>274;#AE|affb6a9a-f2a3-422a-b2a5-1a9a1e8f1224</vt:lpwstr>
  </property>
  <property fmtid="{D5CDD505-2E9C-101B-9397-08002B2CF9AE}" pid="18" name="AN-BusinessAreaCode">
    <vt:lpwstr>96;#DP|b9b347ac-58c5-4a62-954d-4208f7a10217</vt:lpwstr>
  </property>
  <property fmtid="{D5CDD505-2E9C-101B-9397-08002B2CF9AE}" pid="19" name="lcf76f155ced4ddcb4097134ff3c332f">
    <vt:lpwstr/>
  </property>
  <property fmtid="{D5CDD505-2E9C-101B-9397-08002B2CF9AE}" pid="20" name="AN-CountryName">
    <vt:lpwstr>44;#Argentina|01293ee1-c970-4eac-9acd-1037020c531b</vt:lpwstr>
  </property>
  <property fmtid="{D5CDD505-2E9C-101B-9397-08002B2CF9AE}" pid="21" name="AN-BusinessAreaName">
    <vt:lpwstr>97;#Decorative Paints|fb95134c-f750-479c-8c94-c6cfe5c93d85</vt:lpwstr>
  </property>
  <property fmtid="{D5CDD505-2E9C-101B-9397-08002B2CF9AE}" pid="22" name="AN-Keywords">
    <vt:lpwstr/>
  </property>
</Properties>
</file>